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heme/theme4.xml" ContentType="application/vnd.openxmlformats-officedocument.theme+xml"/>
  <Override PartName="/ppt/tags/tag54.xml" ContentType="application/vnd.openxmlformats-officedocument.presentationml.tags+xml"/>
  <Override PartName="/ppt/notesSlides/notesSlide1.xml" ContentType="application/vnd.openxmlformats-officedocument.presentationml.notesSlide+xml"/>
  <Override PartName="/ppt/tags/tag55.xml" ContentType="application/vnd.openxmlformats-officedocument.presentationml.tags+xml"/>
  <Override PartName="/ppt/notesSlides/notesSlide2.xml" ContentType="application/vnd.openxmlformats-officedocument.presentationml.notesSlide+xml"/>
  <Override PartName="/ppt/tags/tag56.xml" ContentType="application/vnd.openxmlformats-officedocument.presentationml.tags+xml"/>
  <Override PartName="/ppt/notesSlides/notesSlide3.xml" ContentType="application/vnd.openxmlformats-officedocument.presentationml.notesSlide+xml"/>
  <Override PartName="/ppt/tags/tag57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756" r:id="rId1"/>
    <p:sldMasterId id="2147483930" r:id="rId2"/>
    <p:sldMasterId id="2147483943" r:id="rId3"/>
  </p:sldMasterIdLst>
  <p:notesMasterIdLst>
    <p:notesMasterId r:id="rId8"/>
  </p:notesMasterIdLst>
  <p:sldIdLst>
    <p:sldId id="289" r:id="rId4"/>
    <p:sldId id="5589" r:id="rId5"/>
    <p:sldId id="344" r:id="rId6"/>
    <p:sldId id="274" r:id="rId7"/>
  </p:sldIdLst>
  <p:sldSz cx="9144000" cy="5143500" type="screen16x9"/>
  <p:notesSz cx="6858000" cy="9144000"/>
  <p:custDataLst>
    <p:tags r:id="rId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rgbClr val="000000"/>
        </a:solidFill>
        <a:latin typeface="Arial" charset="0"/>
        <a:ea typeface="ＭＳ Ｐゴシック" charset="0"/>
        <a:cs typeface="ＭＳ Ｐゴシック" charset="0"/>
        <a:sym typeface="Arial" charset="0"/>
      </a:defRPr>
    </a:lvl1pPr>
    <a:lvl2pPr marL="457200" algn="l" rtl="0" fontAlgn="base">
      <a:spcBef>
        <a:spcPct val="0"/>
      </a:spcBef>
      <a:spcAft>
        <a:spcPct val="0"/>
      </a:spcAft>
      <a:defRPr sz="1400" kern="1200">
        <a:solidFill>
          <a:srgbClr val="000000"/>
        </a:solidFill>
        <a:latin typeface="Arial" charset="0"/>
        <a:ea typeface="ＭＳ Ｐゴシック" charset="0"/>
        <a:cs typeface="ＭＳ Ｐゴシック" charset="0"/>
        <a:sym typeface="Arial" charset="0"/>
      </a:defRPr>
    </a:lvl2pPr>
    <a:lvl3pPr marL="914400" algn="l" rtl="0" fontAlgn="base">
      <a:spcBef>
        <a:spcPct val="0"/>
      </a:spcBef>
      <a:spcAft>
        <a:spcPct val="0"/>
      </a:spcAft>
      <a:defRPr sz="1400" kern="1200">
        <a:solidFill>
          <a:srgbClr val="000000"/>
        </a:solidFill>
        <a:latin typeface="Arial" charset="0"/>
        <a:ea typeface="ＭＳ Ｐゴシック" charset="0"/>
        <a:cs typeface="ＭＳ Ｐゴシック" charset="0"/>
        <a:sym typeface="Arial" charset="0"/>
      </a:defRPr>
    </a:lvl3pPr>
    <a:lvl4pPr marL="1371600" algn="l" rtl="0" fontAlgn="base">
      <a:spcBef>
        <a:spcPct val="0"/>
      </a:spcBef>
      <a:spcAft>
        <a:spcPct val="0"/>
      </a:spcAft>
      <a:defRPr sz="1400" kern="1200">
        <a:solidFill>
          <a:srgbClr val="000000"/>
        </a:solidFill>
        <a:latin typeface="Arial" charset="0"/>
        <a:ea typeface="ＭＳ Ｐゴシック" charset="0"/>
        <a:cs typeface="ＭＳ Ｐゴシック" charset="0"/>
        <a:sym typeface="Arial" charset="0"/>
      </a:defRPr>
    </a:lvl4pPr>
    <a:lvl5pPr marL="1828800" algn="l" rtl="0" fontAlgn="base">
      <a:spcBef>
        <a:spcPct val="0"/>
      </a:spcBef>
      <a:spcAft>
        <a:spcPct val="0"/>
      </a:spcAft>
      <a:defRPr sz="1400" kern="1200">
        <a:solidFill>
          <a:srgbClr val="000000"/>
        </a:solidFill>
        <a:latin typeface="Arial" charset="0"/>
        <a:ea typeface="ＭＳ Ｐゴシック" charset="0"/>
        <a:cs typeface="ＭＳ Ｐゴシック" charset="0"/>
        <a:sym typeface="Arial" charset="0"/>
      </a:defRPr>
    </a:lvl5pPr>
    <a:lvl6pPr marL="2286000" algn="l" defTabSz="457200" rtl="0" eaLnBrk="1" latinLnBrk="0" hangingPunct="1">
      <a:defRPr sz="1400" kern="1200">
        <a:solidFill>
          <a:srgbClr val="000000"/>
        </a:solidFill>
        <a:latin typeface="Arial" charset="0"/>
        <a:ea typeface="ＭＳ Ｐゴシック" charset="0"/>
        <a:cs typeface="ＭＳ Ｐゴシック" charset="0"/>
        <a:sym typeface="Arial" charset="0"/>
      </a:defRPr>
    </a:lvl6pPr>
    <a:lvl7pPr marL="2743200" algn="l" defTabSz="457200" rtl="0" eaLnBrk="1" latinLnBrk="0" hangingPunct="1">
      <a:defRPr sz="1400" kern="1200">
        <a:solidFill>
          <a:srgbClr val="000000"/>
        </a:solidFill>
        <a:latin typeface="Arial" charset="0"/>
        <a:ea typeface="ＭＳ Ｐゴシック" charset="0"/>
        <a:cs typeface="ＭＳ Ｐゴシック" charset="0"/>
        <a:sym typeface="Arial" charset="0"/>
      </a:defRPr>
    </a:lvl7pPr>
    <a:lvl8pPr marL="3200400" algn="l" defTabSz="457200" rtl="0" eaLnBrk="1" latinLnBrk="0" hangingPunct="1">
      <a:defRPr sz="1400" kern="1200">
        <a:solidFill>
          <a:srgbClr val="000000"/>
        </a:solidFill>
        <a:latin typeface="Arial" charset="0"/>
        <a:ea typeface="ＭＳ Ｐゴシック" charset="0"/>
        <a:cs typeface="ＭＳ Ｐゴシック" charset="0"/>
        <a:sym typeface="Arial" charset="0"/>
      </a:defRPr>
    </a:lvl8pPr>
    <a:lvl9pPr marL="3657600" algn="l" defTabSz="457200" rtl="0" eaLnBrk="1" latinLnBrk="0" hangingPunct="1">
      <a:defRPr sz="1400" kern="1200">
        <a:solidFill>
          <a:srgbClr val="000000"/>
        </a:solidFill>
        <a:latin typeface="Arial" charset="0"/>
        <a:ea typeface="ＭＳ Ｐゴシック" charset="0"/>
        <a:cs typeface="ＭＳ Ｐゴシック" charset="0"/>
        <a:sym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lice" initials="AL" lastIdx="18" clrIdx="0"/>
  <p:cmAuthor id="2" name="Alistair McWiggan" initials="AM" lastIdx="1" clrIdx="1"/>
  <p:cmAuthor id="3" name="Alistair McWiggan" initials="AM [2]" lastIdx="1" clrIdx="2"/>
  <p:cmAuthor id="4" name="Alistair McWiggan" initials="AM [3]" lastIdx="1" clrIdx="3"/>
  <p:cmAuthor id="5" name="Sarah Markham" initials="SM" lastIdx="19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510"/>
    <a:srgbClr val="006BAB"/>
    <a:srgbClr val="4E2C1B"/>
    <a:srgbClr val="8A3F1E"/>
    <a:srgbClr val="003D69"/>
    <a:srgbClr val="8DC234"/>
    <a:srgbClr val="85898B"/>
    <a:srgbClr val="65747E"/>
    <a:srgbClr val="3170AC"/>
    <a:srgbClr val="0070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785" autoAdjust="0"/>
    <p:restoredTop sz="96400" autoAdjust="0"/>
  </p:normalViewPr>
  <p:slideViewPr>
    <p:cSldViewPr snapToGrid="0" snapToObjects="1">
      <p:cViewPr varScale="1">
        <p:scale>
          <a:sx n="141" d="100"/>
          <a:sy n="141" d="100"/>
        </p:scale>
        <p:origin x="1194" y="114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38100" cy="381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presProps" Target="presProps.xml"/><Relationship Id="rId5" Type="http://schemas.openxmlformats.org/officeDocument/2006/relationships/slide" Target="slides/slide2.xml"/><Relationship Id="rId10" Type="http://schemas.openxmlformats.org/officeDocument/2006/relationships/commentAuthors" Target="commentAuthors.xml"/><Relationship Id="rId4" Type="http://schemas.openxmlformats.org/officeDocument/2006/relationships/slide" Target="slides/slide1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sap" panose="02000506040000020004" pitchFamily="2" charset="0"/>
                <a:sym typeface="Asap" panose="02000506040000020004" pitchFamily="2" charset="0"/>
              </a:defRPr>
            </a:lvl1pPr>
          </a:lstStyle>
          <a:p>
            <a:endParaRPr lang="pt-PT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sap" panose="02000506040000020004" pitchFamily="2" charset="0"/>
                <a:sym typeface="Asap" panose="02000506040000020004" pitchFamily="2" charset="0"/>
              </a:defRPr>
            </a:lvl1pPr>
          </a:lstStyle>
          <a:p>
            <a:fld id="{E274DBD4-3149-4FF4-B44D-0166D77A6B73}" type="datetimeFigureOut">
              <a:rPr lang="pt-PT" smtClean="0"/>
              <a:pPr/>
              <a:t>08/03/2022</a:t>
            </a:fld>
            <a:endParaRPr lang="pt-PT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PT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sap" panose="02000506040000020004" pitchFamily="2" charset="0"/>
                <a:sym typeface="Asap" panose="02000506040000020004" pitchFamily="2" charset="0"/>
              </a:defRPr>
            </a:lvl1pPr>
          </a:lstStyle>
          <a:p>
            <a:endParaRPr lang="pt-P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sap" panose="02000506040000020004" pitchFamily="2" charset="0"/>
                <a:sym typeface="Asap" panose="02000506040000020004" pitchFamily="2" charset="0"/>
              </a:defRPr>
            </a:lvl1pPr>
          </a:lstStyle>
          <a:p>
            <a:fld id="{8E5760C7-A51A-41C0-BF5A-7DD2144F728A}" type="slidenum">
              <a:rPr lang="pt-PT" smtClean="0"/>
              <a:pPr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406764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sap" panose="02000506040000020004" pitchFamily="2" charset="0"/>
        <a:ea typeface="+mn-ea"/>
        <a:cs typeface="+mn-cs"/>
        <a:sym typeface="Asap" panose="02000506040000020004" pitchFamily="2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sap" panose="02000506040000020004" pitchFamily="2" charset="0"/>
        <a:ea typeface="+mn-ea"/>
        <a:cs typeface="+mn-cs"/>
        <a:sym typeface="Asap" panose="02000506040000020004" pitchFamily="2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sap" panose="02000506040000020004" pitchFamily="2" charset="0"/>
        <a:ea typeface="+mn-ea"/>
        <a:cs typeface="+mn-cs"/>
        <a:sym typeface="Asap" panose="02000506040000020004" pitchFamily="2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sap" panose="02000506040000020004" pitchFamily="2" charset="0"/>
        <a:ea typeface="+mn-ea"/>
        <a:cs typeface="+mn-cs"/>
        <a:sym typeface="Asap" panose="02000506040000020004" pitchFamily="2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sap" panose="02000506040000020004" pitchFamily="2" charset="0"/>
        <a:ea typeface="+mn-ea"/>
        <a:cs typeface="+mn-cs"/>
        <a:sym typeface="Asap" panose="02000506040000020004" pitchFamily="2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760C7-A51A-41C0-BF5A-7DD2144F728A}" type="slidenum">
              <a:rPr lang="pt-PT" smtClean="0"/>
              <a:t>1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013591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8" name="Shape 448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49" name="Shape 449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0081796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760C7-A51A-41C0-BF5A-7DD2144F728A}" type="slidenum">
              <a:rPr lang="pt-PT" smtClean="0"/>
              <a:t>3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2673225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22BC74-2A2C-F646-9EB0-6463FA68F0F9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158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file://localhost/Volumes/1.%20CURRENT%20PARTNERS/%E2%80%A2WB%20ALLIANCE/%E2%80%A2%20WBA%20-%20New%20Branding/%E2%80%A2%20WBA%20Images/Sub-brands/Abstract/PNG/Small/WBA_Connected_City_Background_RBG_Small.png" TargetMode="External"/><Relationship Id="rId3" Type="http://schemas.openxmlformats.org/officeDocument/2006/relationships/tags" Target="../tags/tag21.xml"/><Relationship Id="rId7" Type="http://schemas.openxmlformats.org/officeDocument/2006/relationships/image" Target="../media/image8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file://localhost/Volumes/1.%20CURRENT%20PARTNERS/%E2%80%A2WB%20ALLIANCE/%E2%80%A2%20WBA%20-%20New%20Branding/%E2%80%A2%20WBA%20Images/Sub-brands/Abstract/PNG/Medium/WBA_World_Wifi_Day_RGB_Medium.png" TargetMode="External"/><Relationship Id="rId3" Type="http://schemas.openxmlformats.org/officeDocument/2006/relationships/tags" Target="../tags/tag23.xml"/><Relationship Id="rId7" Type="http://schemas.openxmlformats.org/officeDocument/2006/relationships/image" Target="../media/image8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0.bin"/><Relationship Id="rId4" Type="http://schemas.openxmlformats.org/officeDocument/2006/relationships/image" Target="../media/image10.jp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1.bin"/><Relationship Id="rId4" Type="http://schemas.openxmlformats.org/officeDocument/2006/relationships/image" Target="../media/image11.jp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5.xml"/><Relationship Id="rId7" Type="http://schemas.openxmlformats.org/officeDocument/2006/relationships/image" Target="../media/image5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7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2.bin"/><Relationship Id="rId4" Type="http://schemas.openxmlformats.org/officeDocument/2006/relationships/image" Target="../media/image12.jp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3.bin"/><Relationship Id="rId4" Type="http://schemas.openxmlformats.org/officeDocument/2006/relationships/image" Target="../media/image13.jp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4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5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6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7.bin"/><Relationship Id="rId4" Type="http://schemas.openxmlformats.org/officeDocument/2006/relationships/image" Target="../media/image14.jp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8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0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1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4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2.bin"/><Relationship Id="rId4" Type="http://schemas.openxmlformats.org/officeDocument/2006/relationships/image" Target="../media/image10.jp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3.bin"/><Relationship Id="rId4" Type="http://schemas.openxmlformats.org/officeDocument/2006/relationships/image" Target="../media/image11.jp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6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4.bin"/><Relationship Id="rId4" Type="http://schemas.openxmlformats.org/officeDocument/2006/relationships/image" Target="../media/image12.jp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7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5.bin"/><Relationship Id="rId4" Type="http://schemas.openxmlformats.org/officeDocument/2006/relationships/image" Target="../media/image13.jp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6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9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7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0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8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1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9.bin"/><Relationship Id="rId4" Type="http://schemas.openxmlformats.org/officeDocument/2006/relationships/image" Target="../media/image14.jp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0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3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1.bin"/><Relationship Id="rId4" Type="http://schemas.openxmlformats.org/officeDocument/2006/relationships/image" Target="../media/image15.jp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BA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CE77A8E-6ED3-446C-A6DD-CFB42182DC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1004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4" imgW="346" imgH="346" progId="TCLayout.ActiveDocument.1">
                  <p:embed/>
                </p:oleObj>
              </mc:Choice>
              <mc:Fallback>
                <p:oleObj name="think-cell Slide" r:id="rId4" imgW="346" imgH="34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CE77A8E-6ED3-446C-A6DD-CFB42182DC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ítulo 1">
            <a:extLst>
              <a:ext uri="{FF2B5EF4-FFF2-40B4-BE49-F238E27FC236}">
                <a16:creationId xmlns:a16="http://schemas.microsoft.com/office/drawing/2014/main" id="{6F2EE6DB-1F1F-4EF4-9F16-C6B0BCC8821F}"/>
              </a:ext>
            </a:extLst>
          </p:cNvPr>
          <p:cNvSpPr txBox="1">
            <a:spLocks/>
          </p:cNvSpPr>
          <p:nvPr userDrawn="1"/>
        </p:nvSpPr>
        <p:spPr>
          <a:xfrm>
            <a:off x="370034" y="683517"/>
            <a:ext cx="3386707" cy="288032"/>
          </a:xfrm>
          <a:prstGeom prst="rect">
            <a:avLst/>
          </a:prstGeom>
        </p:spPr>
        <p:txBody>
          <a:bodyPr anchor="ctr"/>
          <a:lstStyle>
            <a:lvl1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bg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4572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l"/>
            <a:endParaRPr lang="en-GB" sz="1200" dirty="0">
              <a:latin typeface="Asap" panose="02000506040000020004" pitchFamily="2" charset="0"/>
              <a:cs typeface="Calibri Light" panose="020F0302020204030204" pitchFamily="34" charset="0"/>
              <a:sym typeface="Asap" panose="0200050604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07239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CAB Char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32A92E2-024C-4181-9FC9-18D6F9A8AD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5453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8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7925042-005A-4CE7-9899-6AF09DFDA24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sap" panose="02000506040000020004" pitchFamily="2" charset="0"/>
              <a:ea typeface="ＭＳ Ｐゴシック" panose="020B0600070205080204" pitchFamily="34" charset="-128"/>
              <a:cs typeface="Arial" panose="020B0604020202020204" pitchFamily="34" charset="0"/>
              <a:sym typeface="Asap" panose="02000506040000020004" pitchFamily="2" charset="0"/>
            </a:endParaRPr>
          </a:p>
        </p:txBody>
      </p:sp>
      <p:pic>
        <p:nvPicPr>
          <p:cNvPr id="10" name="WBA_Connected_City_Background_RBG_Medium.png"/>
          <p:cNvPicPr>
            <a:picLocks noChangeAspect="1"/>
          </p:cNvPicPr>
          <p:nvPr/>
        </p:nvPicPr>
        <p:blipFill rotWithShape="1">
          <a:blip r:embed="rId7" r:link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966633"/>
            <a:ext cx="5761038" cy="31768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Freeform 10"/>
          <p:cNvSpPr/>
          <p:nvPr/>
        </p:nvSpPr>
        <p:spPr>
          <a:xfrm>
            <a:off x="-9525" y="1965723"/>
            <a:ext cx="5805488" cy="3177777"/>
          </a:xfrm>
          <a:custGeom>
            <a:avLst/>
            <a:gdLst>
              <a:gd name="connsiteX0" fmla="*/ 0 w 4917440"/>
              <a:gd name="connsiteY0" fmla="*/ 152400 h 3810000"/>
              <a:gd name="connsiteX1" fmla="*/ 4917440 w 4917440"/>
              <a:gd name="connsiteY1" fmla="*/ 3810000 h 3810000"/>
              <a:gd name="connsiteX2" fmla="*/ 4886960 w 4917440"/>
              <a:gd name="connsiteY2" fmla="*/ 0 h 3810000"/>
              <a:gd name="connsiteX3" fmla="*/ 0 w 4917440"/>
              <a:gd name="connsiteY3" fmla="*/ 152400 h 3810000"/>
              <a:gd name="connsiteX0" fmla="*/ 0 w 4917440"/>
              <a:gd name="connsiteY0" fmla="*/ 0 h 3657600"/>
              <a:gd name="connsiteX1" fmla="*/ 4917440 w 4917440"/>
              <a:gd name="connsiteY1" fmla="*/ 3657600 h 3657600"/>
              <a:gd name="connsiteX2" fmla="*/ 4907280 w 4917440"/>
              <a:gd name="connsiteY2" fmla="*/ 20320 h 3657600"/>
              <a:gd name="connsiteX3" fmla="*/ 0 w 4917440"/>
              <a:gd name="connsiteY3" fmla="*/ 0 h 3657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17440" h="3657600">
                <a:moveTo>
                  <a:pt x="0" y="0"/>
                </a:moveTo>
                <a:lnTo>
                  <a:pt x="4917440" y="3657600"/>
                </a:lnTo>
                <a:cubicBezTo>
                  <a:pt x="4914053" y="2445173"/>
                  <a:pt x="4910667" y="1232747"/>
                  <a:pt x="4907280" y="20320"/>
                </a:cubicBezTo>
                <a:lnTo>
                  <a:pt x="0" y="0"/>
                </a:lnTo>
                <a:close/>
              </a:path>
            </a:pathLst>
          </a:custGeom>
          <a:ln>
            <a:solidFill>
              <a:srgbClr val="FFFFFF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latin typeface="Asap" panose="02000506040000020004" pitchFamily="2" charset="0"/>
              <a:cs typeface="Arial" panose="020B0604020202020204" pitchFamily="34" charset="0"/>
              <a:sym typeface="Asap" panose="02000506040000020004" pitchFamily="2" charset="0"/>
            </a:endParaRPr>
          </a:p>
        </p:txBody>
      </p:sp>
      <p:grpSp>
        <p:nvGrpSpPr>
          <p:cNvPr id="12" name="Group 11"/>
          <p:cNvGrpSpPr>
            <a:grpSpLocks/>
          </p:cNvGrpSpPr>
          <p:nvPr/>
        </p:nvGrpSpPr>
        <p:grpSpPr bwMode="auto">
          <a:xfrm>
            <a:off x="4675188" y="1722835"/>
            <a:ext cx="2063750" cy="2847975"/>
            <a:chOff x="4675096" y="2002366"/>
            <a:chExt cx="2063298" cy="3796901"/>
          </a:xfrm>
        </p:grpSpPr>
        <p:sp>
          <p:nvSpPr>
            <p:cNvPr id="13" name="Rectangle 12"/>
            <p:cNvSpPr/>
            <p:nvPr userDrawn="1"/>
          </p:nvSpPr>
          <p:spPr>
            <a:xfrm>
              <a:off x="4675096" y="2003953"/>
              <a:ext cx="2063298" cy="3795314"/>
            </a:xfrm>
            <a:prstGeom prst="rect">
              <a:avLst/>
            </a:prstGeom>
            <a:solidFill>
              <a:srgbClr val="C4C5C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endParaRPr>
            </a:p>
          </p:txBody>
        </p:sp>
        <p:sp>
          <p:nvSpPr>
            <p:cNvPr id="15" name="Freeform 14"/>
            <p:cNvSpPr/>
            <p:nvPr userDrawn="1"/>
          </p:nvSpPr>
          <p:spPr>
            <a:xfrm>
              <a:off x="4678270" y="2002366"/>
              <a:ext cx="1756977" cy="322228"/>
            </a:xfrm>
            <a:custGeom>
              <a:avLst/>
              <a:gdLst>
                <a:gd name="connsiteX0" fmla="*/ 0 w 862542"/>
                <a:gd name="connsiteY0" fmla="*/ 0 h 322791"/>
                <a:gd name="connsiteX1" fmla="*/ 862542 w 862542"/>
                <a:gd name="connsiteY1" fmla="*/ 21166 h 322791"/>
                <a:gd name="connsiteX2" fmla="*/ 714375 w 862542"/>
                <a:gd name="connsiteY2" fmla="*/ 322791 h 322791"/>
                <a:gd name="connsiteX3" fmla="*/ 206375 w 862542"/>
                <a:gd name="connsiteY3" fmla="*/ 317500 h 322791"/>
                <a:gd name="connsiteX4" fmla="*/ 0 w 862542"/>
                <a:gd name="connsiteY4" fmla="*/ 0 h 322791"/>
                <a:gd name="connsiteX0" fmla="*/ 0 w 862542"/>
                <a:gd name="connsiteY0" fmla="*/ 0 h 322791"/>
                <a:gd name="connsiteX1" fmla="*/ 862542 w 862542"/>
                <a:gd name="connsiteY1" fmla="*/ 21166 h 322791"/>
                <a:gd name="connsiteX2" fmla="*/ 714375 w 862542"/>
                <a:gd name="connsiteY2" fmla="*/ 322791 h 322791"/>
                <a:gd name="connsiteX3" fmla="*/ 5292 w 862542"/>
                <a:gd name="connsiteY3" fmla="*/ 317500 h 322791"/>
                <a:gd name="connsiteX4" fmla="*/ 0 w 862542"/>
                <a:gd name="connsiteY4" fmla="*/ 0 h 322791"/>
                <a:gd name="connsiteX0" fmla="*/ 0 w 873125"/>
                <a:gd name="connsiteY0" fmla="*/ 0 h 317500"/>
                <a:gd name="connsiteX1" fmla="*/ 862542 w 873125"/>
                <a:gd name="connsiteY1" fmla="*/ 21166 h 317500"/>
                <a:gd name="connsiteX2" fmla="*/ 873125 w 873125"/>
                <a:gd name="connsiteY2" fmla="*/ 317500 h 317500"/>
                <a:gd name="connsiteX3" fmla="*/ 5292 w 873125"/>
                <a:gd name="connsiteY3" fmla="*/ 317500 h 317500"/>
                <a:gd name="connsiteX4" fmla="*/ 0 w 873125"/>
                <a:gd name="connsiteY4" fmla="*/ 0 h 317500"/>
                <a:gd name="connsiteX0" fmla="*/ 0 w 873125"/>
                <a:gd name="connsiteY0" fmla="*/ 0 h 317500"/>
                <a:gd name="connsiteX1" fmla="*/ 862542 w 873125"/>
                <a:gd name="connsiteY1" fmla="*/ 0 h 317500"/>
                <a:gd name="connsiteX2" fmla="*/ 873125 w 873125"/>
                <a:gd name="connsiteY2" fmla="*/ 317500 h 317500"/>
                <a:gd name="connsiteX3" fmla="*/ 5292 w 873125"/>
                <a:gd name="connsiteY3" fmla="*/ 317500 h 317500"/>
                <a:gd name="connsiteX4" fmla="*/ 0 w 873125"/>
                <a:gd name="connsiteY4" fmla="*/ 0 h 317500"/>
                <a:gd name="connsiteX0" fmla="*/ 0 w 862542"/>
                <a:gd name="connsiteY0" fmla="*/ 0 h 317500"/>
                <a:gd name="connsiteX1" fmla="*/ 862542 w 862542"/>
                <a:gd name="connsiteY1" fmla="*/ 0 h 317500"/>
                <a:gd name="connsiteX2" fmla="*/ 693209 w 862542"/>
                <a:gd name="connsiteY2" fmla="*/ 317500 h 317500"/>
                <a:gd name="connsiteX3" fmla="*/ 5292 w 862542"/>
                <a:gd name="connsiteY3" fmla="*/ 317500 h 317500"/>
                <a:gd name="connsiteX4" fmla="*/ 0 w 862542"/>
                <a:gd name="connsiteY4" fmla="*/ 0 h 317500"/>
                <a:gd name="connsiteX0" fmla="*/ 0 w 862542"/>
                <a:gd name="connsiteY0" fmla="*/ 0 h 317500"/>
                <a:gd name="connsiteX1" fmla="*/ 862542 w 862542"/>
                <a:gd name="connsiteY1" fmla="*/ 0 h 317500"/>
                <a:gd name="connsiteX2" fmla="*/ 756708 w 862542"/>
                <a:gd name="connsiteY2" fmla="*/ 190500 h 317500"/>
                <a:gd name="connsiteX3" fmla="*/ 693209 w 862542"/>
                <a:gd name="connsiteY3" fmla="*/ 317500 h 317500"/>
                <a:gd name="connsiteX4" fmla="*/ 5292 w 862542"/>
                <a:gd name="connsiteY4" fmla="*/ 317500 h 317500"/>
                <a:gd name="connsiteX5" fmla="*/ 0 w 862542"/>
                <a:gd name="connsiteY5" fmla="*/ 0 h 317500"/>
                <a:gd name="connsiteX0" fmla="*/ 0 w 867833"/>
                <a:gd name="connsiteY0" fmla="*/ 0 h 317500"/>
                <a:gd name="connsiteX1" fmla="*/ 862542 w 867833"/>
                <a:gd name="connsiteY1" fmla="*/ 0 h 317500"/>
                <a:gd name="connsiteX2" fmla="*/ 867833 w 867833"/>
                <a:gd name="connsiteY2" fmla="*/ 185208 h 317500"/>
                <a:gd name="connsiteX3" fmla="*/ 693209 w 867833"/>
                <a:gd name="connsiteY3" fmla="*/ 317500 h 317500"/>
                <a:gd name="connsiteX4" fmla="*/ 5292 w 867833"/>
                <a:gd name="connsiteY4" fmla="*/ 317500 h 317500"/>
                <a:gd name="connsiteX5" fmla="*/ 0 w 867833"/>
                <a:gd name="connsiteY5" fmla="*/ 0 h 317500"/>
                <a:gd name="connsiteX0" fmla="*/ 0 w 862542"/>
                <a:gd name="connsiteY0" fmla="*/ 0 h 317500"/>
                <a:gd name="connsiteX1" fmla="*/ 862542 w 862542"/>
                <a:gd name="connsiteY1" fmla="*/ 0 h 317500"/>
                <a:gd name="connsiteX2" fmla="*/ 693209 w 862542"/>
                <a:gd name="connsiteY2" fmla="*/ 317500 h 317500"/>
                <a:gd name="connsiteX3" fmla="*/ 5292 w 862542"/>
                <a:gd name="connsiteY3" fmla="*/ 317500 h 317500"/>
                <a:gd name="connsiteX4" fmla="*/ 0 w 862542"/>
                <a:gd name="connsiteY4" fmla="*/ 0 h 317500"/>
                <a:gd name="connsiteX0" fmla="*/ 0 w 862542"/>
                <a:gd name="connsiteY0" fmla="*/ 0 h 317500"/>
                <a:gd name="connsiteX1" fmla="*/ 862542 w 862542"/>
                <a:gd name="connsiteY1" fmla="*/ 0 h 317500"/>
                <a:gd name="connsiteX2" fmla="*/ 497417 w 862542"/>
                <a:gd name="connsiteY2" fmla="*/ 317500 h 317500"/>
                <a:gd name="connsiteX3" fmla="*/ 5292 w 862542"/>
                <a:gd name="connsiteY3" fmla="*/ 317500 h 317500"/>
                <a:gd name="connsiteX4" fmla="*/ 0 w 862542"/>
                <a:gd name="connsiteY4" fmla="*/ 0 h 317500"/>
                <a:gd name="connsiteX0" fmla="*/ 735542 w 1598084"/>
                <a:gd name="connsiteY0" fmla="*/ 0 h 322792"/>
                <a:gd name="connsiteX1" fmla="*/ 1598084 w 1598084"/>
                <a:gd name="connsiteY1" fmla="*/ 0 h 322792"/>
                <a:gd name="connsiteX2" fmla="*/ 1232959 w 1598084"/>
                <a:gd name="connsiteY2" fmla="*/ 317500 h 322792"/>
                <a:gd name="connsiteX3" fmla="*/ 0 w 1598084"/>
                <a:gd name="connsiteY3" fmla="*/ 322792 h 322792"/>
                <a:gd name="connsiteX4" fmla="*/ 735542 w 1598084"/>
                <a:gd name="connsiteY4" fmla="*/ 0 h 322792"/>
                <a:gd name="connsiteX0" fmla="*/ 5292 w 1598084"/>
                <a:gd name="connsiteY0" fmla="*/ 0 h 328083"/>
                <a:gd name="connsiteX1" fmla="*/ 1598084 w 1598084"/>
                <a:gd name="connsiteY1" fmla="*/ 5291 h 328083"/>
                <a:gd name="connsiteX2" fmla="*/ 1232959 w 1598084"/>
                <a:gd name="connsiteY2" fmla="*/ 322791 h 328083"/>
                <a:gd name="connsiteX3" fmla="*/ 0 w 1598084"/>
                <a:gd name="connsiteY3" fmla="*/ 328083 h 328083"/>
                <a:gd name="connsiteX4" fmla="*/ 5292 w 1598084"/>
                <a:gd name="connsiteY4" fmla="*/ 0 h 328083"/>
                <a:gd name="connsiteX0" fmla="*/ 0 w 1603376"/>
                <a:gd name="connsiteY0" fmla="*/ 10584 h 322792"/>
                <a:gd name="connsiteX1" fmla="*/ 1603376 w 1603376"/>
                <a:gd name="connsiteY1" fmla="*/ 0 h 322792"/>
                <a:gd name="connsiteX2" fmla="*/ 1238251 w 1603376"/>
                <a:gd name="connsiteY2" fmla="*/ 317500 h 322792"/>
                <a:gd name="connsiteX3" fmla="*/ 5292 w 1603376"/>
                <a:gd name="connsiteY3" fmla="*/ 322792 h 322792"/>
                <a:gd name="connsiteX4" fmla="*/ 0 w 1603376"/>
                <a:gd name="connsiteY4" fmla="*/ 10584 h 322792"/>
                <a:gd name="connsiteX0" fmla="*/ 211666 w 1598084"/>
                <a:gd name="connsiteY0" fmla="*/ 0 h 428625"/>
                <a:gd name="connsiteX1" fmla="*/ 1598084 w 1598084"/>
                <a:gd name="connsiteY1" fmla="*/ 105833 h 428625"/>
                <a:gd name="connsiteX2" fmla="*/ 1232959 w 1598084"/>
                <a:gd name="connsiteY2" fmla="*/ 423333 h 428625"/>
                <a:gd name="connsiteX3" fmla="*/ 0 w 1598084"/>
                <a:gd name="connsiteY3" fmla="*/ 428625 h 428625"/>
                <a:gd name="connsiteX4" fmla="*/ 211666 w 1598084"/>
                <a:gd name="connsiteY4" fmla="*/ 0 h 428625"/>
                <a:gd name="connsiteX0" fmla="*/ 10583 w 1598084"/>
                <a:gd name="connsiteY0" fmla="*/ 5292 h 322792"/>
                <a:gd name="connsiteX1" fmla="*/ 1598084 w 1598084"/>
                <a:gd name="connsiteY1" fmla="*/ 0 h 322792"/>
                <a:gd name="connsiteX2" fmla="*/ 1232959 w 1598084"/>
                <a:gd name="connsiteY2" fmla="*/ 317500 h 322792"/>
                <a:gd name="connsiteX3" fmla="*/ 0 w 1598084"/>
                <a:gd name="connsiteY3" fmla="*/ 322792 h 322792"/>
                <a:gd name="connsiteX4" fmla="*/ 10583 w 1598084"/>
                <a:gd name="connsiteY4" fmla="*/ 5292 h 322792"/>
                <a:gd name="connsiteX0" fmla="*/ 0 w 1603376"/>
                <a:gd name="connsiteY0" fmla="*/ 0 h 328083"/>
                <a:gd name="connsiteX1" fmla="*/ 1603376 w 1603376"/>
                <a:gd name="connsiteY1" fmla="*/ 5291 h 328083"/>
                <a:gd name="connsiteX2" fmla="*/ 1238251 w 1603376"/>
                <a:gd name="connsiteY2" fmla="*/ 322791 h 328083"/>
                <a:gd name="connsiteX3" fmla="*/ 5292 w 1603376"/>
                <a:gd name="connsiteY3" fmla="*/ 328083 h 328083"/>
                <a:gd name="connsiteX4" fmla="*/ 0 w 1603376"/>
                <a:gd name="connsiteY4" fmla="*/ 0 h 328083"/>
                <a:gd name="connsiteX0" fmla="*/ 10583 w 1598084"/>
                <a:gd name="connsiteY0" fmla="*/ 10584 h 322792"/>
                <a:gd name="connsiteX1" fmla="*/ 1598084 w 1598084"/>
                <a:gd name="connsiteY1" fmla="*/ 0 h 322792"/>
                <a:gd name="connsiteX2" fmla="*/ 1232959 w 1598084"/>
                <a:gd name="connsiteY2" fmla="*/ 317500 h 322792"/>
                <a:gd name="connsiteX3" fmla="*/ 0 w 1598084"/>
                <a:gd name="connsiteY3" fmla="*/ 322792 h 322792"/>
                <a:gd name="connsiteX4" fmla="*/ 10583 w 1598084"/>
                <a:gd name="connsiteY4" fmla="*/ 10584 h 322792"/>
                <a:gd name="connsiteX0" fmla="*/ 0 w 1601968"/>
                <a:gd name="connsiteY0" fmla="*/ 1059 h 322792"/>
                <a:gd name="connsiteX1" fmla="*/ 1601968 w 1601968"/>
                <a:gd name="connsiteY1" fmla="*/ 0 h 322792"/>
                <a:gd name="connsiteX2" fmla="*/ 1236843 w 1601968"/>
                <a:gd name="connsiteY2" fmla="*/ 317500 h 322792"/>
                <a:gd name="connsiteX3" fmla="*/ 3884 w 1601968"/>
                <a:gd name="connsiteY3" fmla="*/ 322792 h 322792"/>
                <a:gd name="connsiteX4" fmla="*/ 0 w 1601968"/>
                <a:gd name="connsiteY4" fmla="*/ 1059 h 32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1968" h="322792">
                  <a:moveTo>
                    <a:pt x="0" y="1059"/>
                  </a:moveTo>
                  <a:lnTo>
                    <a:pt x="1601968" y="0"/>
                  </a:lnTo>
                  <a:lnTo>
                    <a:pt x="1236843" y="317500"/>
                  </a:lnTo>
                  <a:lnTo>
                    <a:pt x="3884" y="322792"/>
                  </a:lnTo>
                  <a:cubicBezTo>
                    <a:pt x="2589" y="215548"/>
                    <a:pt x="1295" y="108303"/>
                    <a:pt x="0" y="1059"/>
                  </a:cubicBezTo>
                  <a:close/>
                </a:path>
              </a:pathLst>
            </a:custGeom>
            <a:solidFill>
              <a:srgbClr val="F89E16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kern="0" dirty="0">
                  <a:solidFill>
                    <a:schemeClr val="bg1"/>
                  </a:solidFill>
                  <a:latin typeface="Asap" panose="02000506040000020004" pitchFamily="2" charset="0"/>
                  <a:cs typeface="Arial" panose="020B0604020202020204" pitchFamily="34" charset="0"/>
                  <a:sym typeface="Asap" panose="02000506040000020004" pitchFamily="2" charset="0"/>
                </a:rPr>
                <a:t>Benefits</a:t>
              </a:r>
            </a:p>
          </p:txBody>
        </p:sp>
      </p:grpSp>
      <p:grpSp>
        <p:nvGrpSpPr>
          <p:cNvPr id="17" name="Group 16"/>
          <p:cNvGrpSpPr>
            <a:grpSpLocks/>
          </p:cNvGrpSpPr>
          <p:nvPr/>
        </p:nvGrpSpPr>
        <p:grpSpPr bwMode="auto">
          <a:xfrm>
            <a:off x="6942138" y="1719263"/>
            <a:ext cx="2062162" cy="2846785"/>
            <a:chOff x="6941672" y="1997037"/>
            <a:chExt cx="2063298" cy="3795058"/>
          </a:xfrm>
        </p:grpSpPr>
        <p:sp>
          <p:nvSpPr>
            <p:cNvPr id="19" name="Rectangle 18"/>
            <p:cNvSpPr/>
            <p:nvPr userDrawn="1"/>
          </p:nvSpPr>
          <p:spPr>
            <a:xfrm>
              <a:off x="6941672" y="1997037"/>
              <a:ext cx="2063298" cy="3795058"/>
            </a:xfrm>
            <a:prstGeom prst="rect">
              <a:avLst/>
            </a:prstGeom>
            <a:solidFill>
              <a:srgbClr val="E6E6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endParaRPr>
            </a:p>
          </p:txBody>
        </p:sp>
        <p:sp>
          <p:nvSpPr>
            <p:cNvPr id="21" name="Freeform 20"/>
            <p:cNvSpPr/>
            <p:nvPr userDrawn="1"/>
          </p:nvSpPr>
          <p:spPr>
            <a:xfrm>
              <a:off x="6948025" y="2001799"/>
              <a:ext cx="1758330" cy="323794"/>
            </a:xfrm>
            <a:custGeom>
              <a:avLst/>
              <a:gdLst>
                <a:gd name="connsiteX0" fmla="*/ 0 w 862542"/>
                <a:gd name="connsiteY0" fmla="*/ 0 h 322791"/>
                <a:gd name="connsiteX1" fmla="*/ 862542 w 862542"/>
                <a:gd name="connsiteY1" fmla="*/ 21166 h 322791"/>
                <a:gd name="connsiteX2" fmla="*/ 714375 w 862542"/>
                <a:gd name="connsiteY2" fmla="*/ 322791 h 322791"/>
                <a:gd name="connsiteX3" fmla="*/ 206375 w 862542"/>
                <a:gd name="connsiteY3" fmla="*/ 317500 h 322791"/>
                <a:gd name="connsiteX4" fmla="*/ 0 w 862542"/>
                <a:gd name="connsiteY4" fmla="*/ 0 h 322791"/>
                <a:gd name="connsiteX0" fmla="*/ 0 w 862542"/>
                <a:gd name="connsiteY0" fmla="*/ 0 h 322791"/>
                <a:gd name="connsiteX1" fmla="*/ 862542 w 862542"/>
                <a:gd name="connsiteY1" fmla="*/ 21166 h 322791"/>
                <a:gd name="connsiteX2" fmla="*/ 714375 w 862542"/>
                <a:gd name="connsiteY2" fmla="*/ 322791 h 322791"/>
                <a:gd name="connsiteX3" fmla="*/ 5292 w 862542"/>
                <a:gd name="connsiteY3" fmla="*/ 317500 h 322791"/>
                <a:gd name="connsiteX4" fmla="*/ 0 w 862542"/>
                <a:gd name="connsiteY4" fmla="*/ 0 h 322791"/>
                <a:gd name="connsiteX0" fmla="*/ 0 w 873125"/>
                <a:gd name="connsiteY0" fmla="*/ 0 h 317500"/>
                <a:gd name="connsiteX1" fmla="*/ 862542 w 873125"/>
                <a:gd name="connsiteY1" fmla="*/ 21166 h 317500"/>
                <a:gd name="connsiteX2" fmla="*/ 873125 w 873125"/>
                <a:gd name="connsiteY2" fmla="*/ 317500 h 317500"/>
                <a:gd name="connsiteX3" fmla="*/ 5292 w 873125"/>
                <a:gd name="connsiteY3" fmla="*/ 317500 h 317500"/>
                <a:gd name="connsiteX4" fmla="*/ 0 w 873125"/>
                <a:gd name="connsiteY4" fmla="*/ 0 h 317500"/>
                <a:gd name="connsiteX0" fmla="*/ 0 w 873125"/>
                <a:gd name="connsiteY0" fmla="*/ 0 h 317500"/>
                <a:gd name="connsiteX1" fmla="*/ 862542 w 873125"/>
                <a:gd name="connsiteY1" fmla="*/ 0 h 317500"/>
                <a:gd name="connsiteX2" fmla="*/ 873125 w 873125"/>
                <a:gd name="connsiteY2" fmla="*/ 317500 h 317500"/>
                <a:gd name="connsiteX3" fmla="*/ 5292 w 873125"/>
                <a:gd name="connsiteY3" fmla="*/ 317500 h 317500"/>
                <a:gd name="connsiteX4" fmla="*/ 0 w 873125"/>
                <a:gd name="connsiteY4" fmla="*/ 0 h 317500"/>
                <a:gd name="connsiteX0" fmla="*/ 0 w 862542"/>
                <a:gd name="connsiteY0" fmla="*/ 0 h 317500"/>
                <a:gd name="connsiteX1" fmla="*/ 862542 w 862542"/>
                <a:gd name="connsiteY1" fmla="*/ 0 h 317500"/>
                <a:gd name="connsiteX2" fmla="*/ 693209 w 862542"/>
                <a:gd name="connsiteY2" fmla="*/ 317500 h 317500"/>
                <a:gd name="connsiteX3" fmla="*/ 5292 w 862542"/>
                <a:gd name="connsiteY3" fmla="*/ 317500 h 317500"/>
                <a:gd name="connsiteX4" fmla="*/ 0 w 862542"/>
                <a:gd name="connsiteY4" fmla="*/ 0 h 317500"/>
                <a:gd name="connsiteX0" fmla="*/ 0 w 862542"/>
                <a:gd name="connsiteY0" fmla="*/ 0 h 317500"/>
                <a:gd name="connsiteX1" fmla="*/ 862542 w 862542"/>
                <a:gd name="connsiteY1" fmla="*/ 0 h 317500"/>
                <a:gd name="connsiteX2" fmla="*/ 756708 w 862542"/>
                <a:gd name="connsiteY2" fmla="*/ 190500 h 317500"/>
                <a:gd name="connsiteX3" fmla="*/ 693209 w 862542"/>
                <a:gd name="connsiteY3" fmla="*/ 317500 h 317500"/>
                <a:gd name="connsiteX4" fmla="*/ 5292 w 862542"/>
                <a:gd name="connsiteY4" fmla="*/ 317500 h 317500"/>
                <a:gd name="connsiteX5" fmla="*/ 0 w 862542"/>
                <a:gd name="connsiteY5" fmla="*/ 0 h 317500"/>
                <a:gd name="connsiteX0" fmla="*/ 0 w 867833"/>
                <a:gd name="connsiteY0" fmla="*/ 0 h 317500"/>
                <a:gd name="connsiteX1" fmla="*/ 862542 w 867833"/>
                <a:gd name="connsiteY1" fmla="*/ 0 h 317500"/>
                <a:gd name="connsiteX2" fmla="*/ 867833 w 867833"/>
                <a:gd name="connsiteY2" fmla="*/ 185208 h 317500"/>
                <a:gd name="connsiteX3" fmla="*/ 693209 w 867833"/>
                <a:gd name="connsiteY3" fmla="*/ 317500 h 317500"/>
                <a:gd name="connsiteX4" fmla="*/ 5292 w 867833"/>
                <a:gd name="connsiteY4" fmla="*/ 317500 h 317500"/>
                <a:gd name="connsiteX5" fmla="*/ 0 w 867833"/>
                <a:gd name="connsiteY5" fmla="*/ 0 h 317500"/>
                <a:gd name="connsiteX0" fmla="*/ 0 w 862542"/>
                <a:gd name="connsiteY0" fmla="*/ 0 h 317500"/>
                <a:gd name="connsiteX1" fmla="*/ 862542 w 862542"/>
                <a:gd name="connsiteY1" fmla="*/ 0 h 317500"/>
                <a:gd name="connsiteX2" fmla="*/ 693209 w 862542"/>
                <a:gd name="connsiteY2" fmla="*/ 317500 h 317500"/>
                <a:gd name="connsiteX3" fmla="*/ 5292 w 862542"/>
                <a:gd name="connsiteY3" fmla="*/ 317500 h 317500"/>
                <a:gd name="connsiteX4" fmla="*/ 0 w 862542"/>
                <a:gd name="connsiteY4" fmla="*/ 0 h 317500"/>
                <a:gd name="connsiteX0" fmla="*/ 0 w 862542"/>
                <a:gd name="connsiteY0" fmla="*/ 0 h 317500"/>
                <a:gd name="connsiteX1" fmla="*/ 862542 w 862542"/>
                <a:gd name="connsiteY1" fmla="*/ 0 h 317500"/>
                <a:gd name="connsiteX2" fmla="*/ 497417 w 862542"/>
                <a:gd name="connsiteY2" fmla="*/ 317500 h 317500"/>
                <a:gd name="connsiteX3" fmla="*/ 5292 w 862542"/>
                <a:gd name="connsiteY3" fmla="*/ 317500 h 317500"/>
                <a:gd name="connsiteX4" fmla="*/ 0 w 862542"/>
                <a:gd name="connsiteY4" fmla="*/ 0 h 317500"/>
                <a:gd name="connsiteX0" fmla="*/ 735542 w 1598084"/>
                <a:gd name="connsiteY0" fmla="*/ 0 h 322792"/>
                <a:gd name="connsiteX1" fmla="*/ 1598084 w 1598084"/>
                <a:gd name="connsiteY1" fmla="*/ 0 h 322792"/>
                <a:gd name="connsiteX2" fmla="*/ 1232959 w 1598084"/>
                <a:gd name="connsiteY2" fmla="*/ 317500 h 322792"/>
                <a:gd name="connsiteX3" fmla="*/ 0 w 1598084"/>
                <a:gd name="connsiteY3" fmla="*/ 322792 h 322792"/>
                <a:gd name="connsiteX4" fmla="*/ 735542 w 1598084"/>
                <a:gd name="connsiteY4" fmla="*/ 0 h 322792"/>
                <a:gd name="connsiteX0" fmla="*/ 5292 w 1598084"/>
                <a:gd name="connsiteY0" fmla="*/ 0 h 328083"/>
                <a:gd name="connsiteX1" fmla="*/ 1598084 w 1598084"/>
                <a:gd name="connsiteY1" fmla="*/ 5291 h 328083"/>
                <a:gd name="connsiteX2" fmla="*/ 1232959 w 1598084"/>
                <a:gd name="connsiteY2" fmla="*/ 322791 h 328083"/>
                <a:gd name="connsiteX3" fmla="*/ 0 w 1598084"/>
                <a:gd name="connsiteY3" fmla="*/ 328083 h 328083"/>
                <a:gd name="connsiteX4" fmla="*/ 5292 w 1598084"/>
                <a:gd name="connsiteY4" fmla="*/ 0 h 328083"/>
                <a:gd name="connsiteX0" fmla="*/ 0 w 1603376"/>
                <a:gd name="connsiteY0" fmla="*/ 10584 h 322792"/>
                <a:gd name="connsiteX1" fmla="*/ 1603376 w 1603376"/>
                <a:gd name="connsiteY1" fmla="*/ 0 h 322792"/>
                <a:gd name="connsiteX2" fmla="*/ 1238251 w 1603376"/>
                <a:gd name="connsiteY2" fmla="*/ 317500 h 322792"/>
                <a:gd name="connsiteX3" fmla="*/ 5292 w 1603376"/>
                <a:gd name="connsiteY3" fmla="*/ 322792 h 322792"/>
                <a:gd name="connsiteX4" fmla="*/ 0 w 1603376"/>
                <a:gd name="connsiteY4" fmla="*/ 10584 h 322792"/>
                <a:gd name="connsiteX0" fmla="*/ 211666 w 1598084"/>
                <a:gd name="connsiteY0" fmla="*/ 0 h 428625"/>
                <a:gd name="connsiteX1" fmla="*/ 1598084 w 1598084"/>
                <a:gd name="connsiteY1" fmla="*/ 105833 h 428625"/>
                <a:gd name="connsiteX2" fmla="*/ 1232959 w 1598084"/>
                <a:gd name="connsiteY2" fmla="*/ 423333 h 428625"/>
                <a:gd name="connsiteX3" fmla="*/ 0 w 1598084"/>
                <a:gd name="connsiteY3" fmla="*/ 428625 h 428625"/>
                <a:gd name="connsiteX4" fmla="*/ 211666 w 1598084"/>
                <a:gd name="connsiteY4" fmla="*/ 0 h 428625"/>
                <a:gd name="connsiteX0" fmla="*/ 10583 w 1598084"/>
                <a:gd name="connsiteY0" fmla="*/ 5292 h 322792"/>
                <a:gd name="connsiteX1" fmla="*/ 1598084 w 1598084"/>
                <a:gd name="connsiteY1" fmla="*/ 0 h 322792"/>
                <a:gd name="connsiteX2" fmla="*/ 1232959 w 1598084"/>
                <a:gd name="connsiteY2" fmla="*/ 317500 h 322792"/>
                <a:gd name="connsiteX3" fmla="*/ 0 w 1598084"/>
                <a:gd name="connsiteY3" fmla="*/ 322792 h 322792"/>
                <a:gd name="connsiteX4" fmla="*/ 10583 w 1598084"/>
                <a:gd name="connsiteY4" fmla="*/ 5292 h 322792"/>
                <a:gd name="connsiteX0" fmla="*/ 0 w 1603376"/>
                <a:gd name="connsiteY0" fmla="*/ 0 h 328083"/>
                <a:gd name="connsiteX1" fmla="*/ 1603376 w 1603376"/>
                <a:gd name="connsiteY1" fmla="*/ 5291 h 328083"/>
                <a:gd name="connsiteX2" fmla="*/ 1238251 w 1603376"/>
                <a:gd name="connsiteY2" fmla="*/ 322791 h 328083"/>
                <a:gd name="connsiteX3" fmla="*/ 5292 w 1603376"/>
                <a:gd name="connsiteY3" fmla="*/ 328083 h 328083"/>
                <a:gd name="connsiteX4" fmla="*/ 0 w 1603376"/>
                <a:gd name="connsiteY4" fmla="*/ 0 h 328083"/>
                <a:gd name="connsiteX0" fmla="*/ 10583 w 1598084"/>
                <a:gd name="connsiteY0" fmla="*/ 10584 h 322792"/>
                <a:gd name="connsiteX1" fmla="*/ 1598084 w 1598084"/>
                <a:gd name="connsiteY1" fmla="*/ 0 h 322792"/>
                <a:gd name="connsiteX2" fmla="*/ 1232959 w 1598084"/>
                <a:gd name="connsiteY2" fmla="*/ 317500 h 322792"/>
                <a:gd name="connsiteX3" fmla="*/ 0 w 1598084"/>
                <a:gd name="connsiteY3" fmla="*/ 322792 h 322792"/>
                <a:gd name="connsiteX4" fmla="*/ 10583 w 1598084"/>
                <a:gd name="connsiteY4" fmla="*/ 10584 h 322792"/>
                <a:gd name="connsiteX0" fmla="*/ 0 w 1601968"/>
                <a:gd name="connsiteY0" fmla="*/ 1059 h 322792"/>
                <a:gd name="connsiteX1" fmla="*/ 1601968 w 1601968"/>
                <a:gd name="connsiteY1" fmla="*/ 0 h 322792"/>
                <a:gd name="connsiteX2" fmla="*/ 1236843 w 1601968"/>
                <a:gd name="connsiteY2" fmla="*/ 317500 h 322792"/>
                <a:gd name="connsiteX3" fmla="*/ 3884 w 1601968"/>
                <a:gd name="connsiteY3" fmla="*/ 322792 h 322792"/>
                <a:gd name="connsiteX4" fmla="*/ 0 w 1601968"/>
                <a:gd name="connsiteY4" fmla="*/ 1059 h 32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1968" h="322792">
                  <a:moveTo>
                    <a:pt x="0" y="1059"/>
                  </a:moveTo>
                  <a:lnTo>
                    <a:pt x="1601968" y="0"/>
                  </a:lnTo>
                  <a:lnTo>
                    <a:pt x="1236843" y="317500"/>
                  </a:lnTo>
                  <a:lnTo>
                    <a:pt x="3884" y="322792"/>
                  </a:lnTo>
                  <a:cubicBezTo>
                    <a:pt x="2589" y="215548"/>
                    <a:pt x="1295" y="108303"/>
                    <a:pt x="0" y="1059"/>
                  </a:cubicBezTo>
                  <a:close/>
                </a:path>
              </a:pathLst>
            </a:custGeom>
            <a:solidFill>
              <a:srgbClr val="F89E16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kern="0" dirty="0">
                  <a:solidFill>
                    <a:schemeClr val="bg1"/>
                  </a:solidFill>
                  <a:latin typeface="Asap" panose="02000506040000020004" pitchFamily="2" charset="0"/>
                  <a:cs typeface="Arial" panose="020B0604020202020204" pitchFamily="34" charset="0"/>
                  <a:sym typeface="Asap" panose="02000506040000020004" pitchFamily="2" charset="0"/>
                </a:rPr>
                <a:t>Outcomes</a:t>
              </a:r>
            </a:p>
          </p:txBody>
        </p:sp>
      </p:grpSp>
      <p:grpSp>
        <p:nvGrpSpPr>
          <p:cNvPr id="25" name="Group 24"/>
          <p:cNvGrpSpPr>
            <a:grpSpLocks/>
          </p:cNvGrpSpPr>
          <p:nvPr/>
        </p:nvGrpSpPr>
        <p:grpSpPr bwMode="auto">
          <a:xfrm>
            <a:off x="215900" y="1720454"/>
            <a:ext cx="2063750" cy="2846784"/>
            <a:chOff x="201709" y="1999428"/>
            <a:chExt cx="2063298" cy="3795058"/>
          </a:xfrm>
        </p:grpSpPr>
        <p:sp>
          <p:nvSpPr>
            <p:cNvPr id="26" name="Rectangle 25"/>
            <p:cNvSpPr/>
            <p:nvPr userDrawn="1"/>
          </p:nvSpPr>
          <p:spPr>
            <a:xfrm>
              <a:off x="201709" y="1999428"/>
              <a:ext cx="2063298" cy="3795058"/>
            </a:xfrm>
            <a:prstGeom prst="rect">
              <a:avLst/>
            </a:prstGeom>
            <a:solidFill>
              <a:srgbClr val="C4C5C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endParaRPr>
            </a:p>
          </p:txBody>
        </p:sp>
        <p:sp>
          <p:nvSpPr>
            <p:cNvPr id="28" name="Freeform 27"/>
            <p:cNvSpPr/>
            <p:nvPr userDrawn="1"/>
          </p:nvSpPr>
          <p:spPr>
            <a:xfrm>
              <a:off x="208058" y="2005777"/>
              <a:ext cx="1756978" cy="322206"/>
            </a:xfrm>
            <a:custGeom>
              <a:avLst/>
              <a:gdLst>
                <a:gd name="connsiteX0" fmla="*/ 0 w 862542"/>
                <a:gd name="connsiteY0" fmla="*/ 0 h 322791"/>
                <a:gd name="connsiteX1" fmla="*/ 862542 w 862542"/>
                <a:gd name="connsiteY1" fmla="*/ 21166 h 322791"/>
                <a:gd name="connsiteX2" fmla="*/ 714375 w 862542"/>
                <a:gd name="connsiteY2" fmla="*/ 322791 h 322791"/>
                <a:gd name="connsiteX3" fmla="*/ 206375 w 862542"/>
                <a:gd name="connsiteY3" fmla="*/ 317500 h 322791"/>
                <a:gd name="connsiteX4" fmla="*/ 0 w 862542"/>
                <a:gd name="connsiteY4" fmla="*/ 0 h 322791"/>
                <a:gd name="connsiteX0" fmla="*/ 0 w 862542"/>
                <a:gd name="connsiteY0" fmla="*/ 0 h 322791"/>
                <a:gd name="connsiteX1" fmla="*/ 862542 w 862542"/>
                <a:gd name="connsiteY1" fmla="*/ 21166 h 322791"/>
                <a:gd name="connsiteX2" fmla="*/ 714375 w 862542"/>
                <a:gd name="connsiteY2" fmla="*/ 322791 h 322791"/>
                <a:gd name="connsiteX3" fmla="*/ 5292 w 862542"/>
                <a:gd name="connsiteY3" fmla="*/ 317500 h 322791"/>
                <a:gd name="connsiteX4" fmla="*/ 0 w 862542"/>
                <a:gd name="connsiteY4" fmla="*/ 0 h 322791"/>
                <a:gd name="connsiteX0" fmla="*/ 0 w 873125"/>
                <a:gd name="connsiteY0" fmla="*/ 0 h 317500"/>
                <a:gd name="connsiteX1" fmla="*/ 862542 w 873125"/>
                <a:gd name="connsiteY1" fmla="*/ 21166 h 317500"/>
                <a:gd name="connsiteX2" fmla="*/ 873125 w 873125"/>
                <a:gd name="connsiteY2" fmla="*/ 317500 h 317500"/>
                <a:gd name="connsiteX3" fmla="*/ 5292 w 873125"/>
                <a:gd name="connsiteY3" fmla="*/ 317500 h 317500"/>
                <a:gd name="connsiteX4" fmla="*/ 0 w 873125"/>
                <a:gd name="connsiteY4" fmla="*/ 0 h 317500"/>
                <a:gd name="connsiteX0" fmla="*/ 0 w 873125"/>
                <a:gd name="connsiteY0" fmla="*/ 0 h 317500"/>
                <a:gd name="connsiteX1" fmla="*/ 862542 w 873125"/>
                <a:gd name="connsiteY1" fmla="*/ 0 h 317500"/>
                <a:gd name="connsiteX2" fmla="*/ 873125 w 873125"/>
                <a:gd name="connsiteY2" fmla="*/ 317500 h 317500"/>
                <a:gd name="connsiteX3" fmla="*/ 5292 w 873125"/>
                <a:gd name="connsiteY3" fmla="*/ 317500 h 317500"/>
                <a:gd name="connsiteX4" fmla="*/ 0 w 873125"/>
                <a:gd name="connsiteY4" fmla="*/ 0 h 317500"/>
                <a:gd name="connsiteX0" fmla="*/ 0 w 862542"/>
                <a:gd name="connsiteY0" fmla="*/ 0 h 317500"/>
                <a:gd name="connsiteX1" fmla="*/ 862542 w 862542"/>
                <a:gd name="connsiteY1" fmla="*/ 0 h 317500"/>
                <a:gd name="connsiteX2" fmla="*/ 693209 w 862542"/>
                <a:gd name="connsiteY2" fmla="*/ 317500 h 317500"/>
                <a:gd name="connsiteX3" fmla="*/ 5292 w 862542"/>
                <a:gd name="connsiteY3" fmla="*/ 317500 h 317500"/>
                <a:gd name="connsiteX4" fmla="*/ 0 w 862542"/>
                <a:gd name="connsiteY4" fmla="*/ 0 h 317500"/>
                <a:gd name="connsiteX0" fmla="*/ 0 w 862542"/>
                <a:gd name="connsiteY0" fmla="*/ 0 h 317500"/>
                <a:gd name="connsiteX1" fmla="*/ 862542 w 862542"/>
                <a:gd name="connsiteY1" fmla="*/ 0 h 317500"/>
                <a:gd name="connsiteX2" fmla="*/ 756708 w 862542"/>
                <a:gd name="connsiteY2" fmla="*/ 190500 h 317500"/>
                <a:gd name="connsiteX3" fmla="*/ 693209 w 862542"/>
                <a:gd name="connsiteY3" fmla="*/ 317500 h 317500"/>
                <a:gd name="connsiteX4" fmla="*/ 5292 w 862542"/>
                <a:gd name="connsiteY4" fmla="*/ 317500 h 317500"/>
                <a:gd name="connsiteX5" fmla="*/ 0 w 862542"/>
                <a:gd name="connsiteY5" fmla="*/ 0 h 317500"/>
                <a:gd name="connsiteX0" fmla="*/ 0 w 867833"/>
                <a:gd name="connsiteY0" fmla="*/ 0 h 317500"/>
                <a:gd name="connsiteX1" fmla="*/ 862542 w 867833"/>
                <a:gd name="connsiteY1" fmla="*/ 0 h 317500"/>
                <a:gd name="connsiteX2" fmla="*/ 867833 w 867833"/>
                <a:gd name="connsiteY2" fmla="*/ 185208 h 317500"/>
                <a:gd name="connsiteX3" fmla="*/ 693209 w 867833"/>
                <a:gd name="connsiteY3" fmla="*/ 317500 h 317500"/>
                <a:gd name="connsiteX4" fmla="*/ 5292 w 867833"/>
                <a:gd name="connsiteY4" fmla="*/ 317500 h 317500"/>
                <a:gd name="connsiteX5" fmla="*/ 0 w 867833"/>
                <a:gd name="connsiteY5" fmla="*/ 0 h 317500"/>
                <a:gd name="connsiteX0" fmla="*/ 0 w 862542"/>
                <a:gd name="connsiteY0" fmla="*/ 0 h 317500"/>
                <a:gd name="connsiteX1" fmla="*/ 862542 w 862542"/>
                <a:gd name="connsiteY1" fmla="*/ 0 h 317500"/>
                <a:gd name="connsiteX2" fmla="*/ 693209 w 862542"/>
                <a:gd name="connsiteY2" fmla="*/ 317500 h 317500"/>
                <a:gd name="connsiteX3" fmla="*/ 5292 w 862542"/>
                <a:gd name="connsiteY3" fmla="*/ 317500 h 317500"/>
                <a:gd name="connsiteX4" fmla="*/ 0 w 862542"/>
                <a:gd name="connsiteY4" fmla="*/ 0 h 317500"/>
                <a:gd name="connsiteX0" fmla="*/ 0 w 862542"/>
                <a:gd name="connsiteY0" fmla="*/ 0 h 317500"/>
                <a:gd name="connsiteX1" fmla="*/ 862542 w 862542"/>
                <a:gd name="connsiteY1" fmla="*/ 0 h 317500"/>
                <a:gd name="connsiteX2" fmla="*/ 497417 w 862542"/>
                <a:gd name="connsiteY2" fmla="*/ 317500 h 317500"/>
                <a:gd name="connsiteX3" fmla="*/ 5292 w 862542"/>
                <a:gd name="connsiteY3" fmla="*/ 317500 h 317500"/>
                <a:gd name="connsiteX4" fmla="*/ 0 w 862542"/>
                <a:gd name="connsiteY4" fmla="*/ 0 h 317500"/>
                <a:gd name="connsiteX0" fmla="*/ 735542 w 1598084"/>
                <a:gd name="connsiteY0" fmla="*/ 0 h 322792"/>
                <a:gd name="connsiteX1" fmla="*/ 1598084 w 1598084"/>
                <a:gd name="connsiteY1" fmla="*/ 0 h 322792"/>
                <a:gd name="connsiteX2" fmla="*/ 1232959 w 1598084"/>
                <a:gd name="connsiteY2" fmla="*/ 317500 h 322792"/>
                <a:gd name="connsiteX3" fmla="*/ 0 w 1598084"/>
                <a:gd name="connsiteY3" fmla="*/ 322792 h 322792"/>
                <a:gd name="connsiteX4" fmla="*/ 735542 w 1598084"/>
                <a:gd name="connsiteY4" fmla="*/ 0 h 322792"/>
                <a:gd name="connsiteX0" fmla="*/ 5292 w 1598084"/>
                <a:gd name="connsiteY0" fmla="*/ 0 h 328083"/>
                <a:gd name="connsiteX1" fmla="*/ 1598084 w 1598084"/>
                <a:gd name="connsiteY1" fmla="*/ 5291 h 328083"/>
                <a:gd name="connsiteX2" fmla="*/ 1232959 w 1598084"/>
                <a:gd name="connsiteY2" fmla="*/ 322791 h 328083"/>
                <a:gd name="connsiteX3" fmla="*/ 0 w 1598084"/>
                <a:gd name="connsiteY3" fmla="*/ 328083 h 328083"/>
                <a:gd name="connsiteX4" fmla="*/ 5292 w 1598084"/>
                <a:gd name="connsiteY4" fmla="*/ 0 h 328083"/>
                <a:gd name="connsiteX0" fmla="*/ 0 w 1603376"/>
                <a:gd name="connsiteY0" fmla="*/ 10584 h 322792"/>
                <a:gd name="connsiteX1" fmla="*/ 1603376 w 1603376"/>
                <a:gd name="connsiteY1" fmla="*/ 0 h 322792"/>
                <a:gd name="connsiteX2" fmla="*/ 1238251 w 1603376"/>
                <a:gd name="connsiteY2" fmla="*/ 317500 h 322792"/>
                <a:gd name="connsiteX3" fmla="*/ 5292 w 1603376"/>
                <a:gd name="connsiteY3" fmla="*/ 322792 h 322792"/>
                <a:gd name="connsiteX4" fmla="*/ 0 w 1603376"/>
                <a:gd name="connsiteY4" fmla="*/ 10584 h 322792"/>
                <a:gd name="connsiteX0" fmla="*/ 211666 w 1598084"/>
                <a:gd name="connsiteY0" fmla="*/ 0 h 428625"/>
                <a:gd name="connsiteX1" fmla="*/ 1598084 w 1598084"/>
                <a:gd name="connsiteY1" fmla="*/ 105833 h 428625"/>
                <a:gd name="connsiteX2" fmla="*/ 1232959 w 1598084"/>
                <a:gd name="connsiteY2" fmla="*/ 423333 h 428625"/>
                <a:gd name="connsiteX3" fmla="*/ 0 w 1598084"/>
                <a:gd name="connsiteY3" fmla="*/ 428625 h 428625"/>
                <a:gd name="connsiteX4" fmla="*/ 211666 w 1598084"/>
                <a:gd name="connsiteY4" fmla="*/ 0 h 428625"/>
                <a:gd name="connsiteX0" fmla="*/ 10583 w 1598084"/>
                <a:gd name="connsiteY0" fmla="*/ 5292 h 322792"/>
                <a:gd name="connsiteX1" fmla="*/ 1598084 w 1598084"/>
                <a:gd name="connsiteY1" fmla="*/ 0 h 322792"/>
                <a:gd name="connsiteX2" fmla="*/ 1232959 w 1598084"/>
                <a:gd name="connsiteY2" fmla="*/ 317500 h 322792"/>
                <a:gd name="connsiteX3" fmla="*/ 0 w 1598084"/>
                <a:gd name="connsiteY3" fmla="*/ 322792 h 322792"/>
                <a:gd name="connsiteX4" fmla="*/ 10583 w 1598084"/>
                <a:gd name="connsiteY4" fmla="*/ 5292 h 322792"/>
                <a:gd name="connsiteX0" fmla="*/ 0 w 1603376"/>
                <a:gd name="connsiteY0" fmla="*/ 0 h 328083"/>
                <a:gd name="connsiteX1" fmla="*/ 1603376 w 1603376"/>
                <a:gd name="connsiteY1" fmla="*/ 5291 h 328083"/>
                <a:gd name="connsiteX2" fmla="*/ 1238251 w 1603376"/>
                <a:gd name="connsiteY2" fmla="*/ 322791 h 328083"/>
                <a:gd name="connsiteX3" fmla="*/ 5292 w 1603376"/>
                <a:gd name="connsiteY3" fmla="*/ 328083 h 328083"/>
                <a:gd name="connsiteX4" fmla="*/ 0 w 1603376"/>
                <a:gd name="connsiteY4" fmla="*/ 0 h 328083"/>
                <a:gd name="connsiteX0" fmla="*/ 10583 w 1598084"/>
                <a:gd name="connsiteY0" fmla="*/ 10584 h 322792"/>
                <a:gd name="connsiteX1" fmla="*/ 1598084 w 1598084"/>
                <a:gd name="connsiteY1" fmla="*/ 0 h 322792"/>
                <a:gd name="connsiteX2" fmla="*/ 1232959 w 1598084"/>
                <a:gd name="connsiteY2" fmla="*/ 317500 h 322792"/>
                <a:gd name="connsiteX3" fmla="*/ 0 w 1598084"/>
                <a:gd name="connsiteY3" fmla="*/ 322792 h 322792"/>
                <a:gd name="connsiteX4" fmla="*/ 10583 w 1598084"/>
                <a:gd name="connsiteY4" fmla="*/ 10584 h 322792"/>
                <a:gd name="connsiteX0" fmla="*/ 0 w 1601968"/>
                <a:gd name="connsiteY0" fmla="*/ 1059 h 322792"/>
                <a:gd name="connsiteX1" fmla="*/ 1601968 w 1601968"/>
                <a:gd name="connsiteY1" fmla="*/ 0 h 322792"/>
                <a:gd name="connsiteX2" fmla="*/ 1236843 w 1601968"/>
                <a:gd name="connsiteY2" fmla="*/ 317500 h 322792"/>
                <a:gd name="connsiteX3" fmla="*/ 3884 w 1601968"/>
                <a:gd name="connsiteY3" fmla="*/ 322792 h 322792"/>
                <a:gd name="connsiteX4" fmla="*/ 0 w 1601968"/>
                <a:gd name="connsiteY4" fmla="*/ 1059 h 32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1968" h="322792">
                  <a:moveTo>
                    <a:pt x="0" y="1059"/>
                  </a:moveTo>
                  <a:lnTo>
                    <a:pt x="1601968" y="0"/>
                  </a:lnTo>
                  <a:lnTo>
                    <a:pt x="1236843" y="317500"/>
                  </a:lnTo>
                  <a:lnTo>
                    <a:pt x="3884" y="322792"/>
                  </a:lnTo>
                  <a:cubicBezTo>
                    <a:pt x="2589" y="215548"/>
                    <a:pt x="1295" y="108303"/>
                    <a:pt x="0" y="1059"/>
                  </a:cubicBezTo>
                  <a:close/>
                </a:path>
              </a:pathLst>
            </a:custGeom>
            <a:solidFill>
              <a:srgbClr val="F89E16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kern="0" dirty="0">
                  <a:solidFill>
                    <a:schemeClr val="bg1"/>
                  </a:solidFill>
                  <a:latin typeface="Asap" panose="02000506040000020004" pitchFamily="2" charset="0"/>
                  <a:cs typeface="Arial" panose="020B0604020202020204" pitchFamily="34" charset="0"/>
                  <a:sym typeface="Asap" panose="02000506040000020004" pitchFamily="2" charset="0"/>
                </a:rPr>
                <a:t>Guiding Principles</a:t>
              </a:r>
            </a:p>
          </p:txBody>
        </p:sp>
      </p:grpSp>
      <p:sp>
        <p:nvSpPr>
          <p:cNvPr id="29" name="TextBox 28"/>
          <p:cNvSpPr txBox="1"/>
          <p:nvPr userDrawn="1"/>
        </p:nvSpPr>
        <p:spPr>
          <a:xfrm>
            <a:off x="211457" y="4801039"/>
            <a:ext cx="3512501" cy="253916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0" dirty="0">
                <a:solidFill>
                  <a:srgbClr val="FFFFFF"/>
                </a:solidFill>
                <a:latin typeface="Asap" panose="02000506040000020004" pitchFamily="2" charset="0"/>
                <a:ea typeface="Arial"/>
                <a:cs typeface="Arial" panose="020B0604020202020204" pitchFamily="34" charset="0"/>
                <a:sym typeface="Asap" panose="02000506040000020004" pitchFamily="2" charset="0"/>
              </a:rPr>
              <a:t>Copyright © 2018 </a:t>
            </a:r>
            <a:r>
              <a:rPr lang="en-US" sz="1050" kern="0" dirty="0">
                <a:solidFill>
                  <a:srgbClr val="FFFFFF"/>
                </a:solidFill>
                <a:latin typeface="Asap" panose="02000506040000020004" pitchFamily="2" charset="0"/>
                <a:ea typeface="Arial"/>
                <a:cs typeface="Arial" panose="020B0604020202020204" pitchFamily="34" charset="0"/>
                <a:sym typeface="Asap" panose="02000506040000020004" pitchFamily="2" charset="0"/>
              </a:rPr>
              <a:t>|</a:t>
            </a:r>
            <a:r>
              <a:rPr lang="en-US" sz="800" kern="0" dirty="0">
                <a:solidFill>
                  <a:srgbClr val="FFFFFF"/>
                </a:solidFill>
                <a:latin typeface="Asap" panose="02000506040000020004" pitchFamily="2" charset="0"/>
                <a:ea typeface="Arial"/>
                <a:cs typeface="Arial" panose="020B0604020202020204" pitchFamily="34" charset="0"/>
                <a:sym typeface="Asap" panose="02000506040000020004" pitchFamily="2" charset="0"/>
              </a:rPr>
              <a:t> Wireless Broadband Alliance Ltd. All rights reserved  </a:t>
            </a:r>
          </a:p>
        </p:txBody>
      </p:sp>
      <p:grpSp>
        <p:nvGrpSpPr>
          <p:cNvPr id="30" name="Group 29"/>
          <p:cNvGrpSpPr>
            <a:grpSpLocks/>
          </p:cNvGrpSpPr>
          <p:nvPr userDrawn="1"/>
        </p:nvGrpSpPr>
        <p:grpSpPr bwMode="auto">
          <a:xfrm>
            <a:off x="2379663" y="1720454"/>
            <a:ext cx="2070100" cy="2846784"/>
            <a:chOff x="2379103" y="1998532"/>
            <a:chExt cx="2070303" cy="3795058"/>
          </a:xfrm>
        </p:grpSpPr>
        <p:sp>
          <p:nvSpPr>
            <p:cNvPr id="31" name="Rectangle 30"/>
            <p:cNvSpPr/>
            <p:nvPr userDrawn="1"/>
          </p:nvSpPr>
          <p:spPr>
            <a:xfrm>
              <a:off x="2385454" y="1998532"/>
              <a:ext cx="2063952" cy="3795058"/>
            </a:xfrm>
            <a:prstGeom prst="rect">
              <a:avLst/>
            </a:prstGeom>
            <a:solidFill>
              <a:srgbClr val="E6E6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endParaRPr>
            </a:p>
          </p:txBody>
        </p:sp>
        <p:sp>
          <p:nvSpPr>
            <p:cNvPr id="32" name="Freeform 31"/>
            <p:cNvSpPr/>
            <p:nvPr userDrawn="1"/>
          </p:nvSpPr>
          <p:spPr>
            <a:xfrm>
              <a:off x="2379103" y="2001706"/>
              <a:ext cx="1757534" cy="323794"/>
            </a:xfrm>
            <a:custGeom>
              <a:avLst/>
              <a:gdLst>
                <a:gd name="connsiteX0" fmla="*/ 0 w 862542"/>
                <a:gd name="connsiteY0" fmla="*/ 0 h 322791"/>
                <a:gd name="connsiteX1" fmla="*/ 862542 w 862542"/>
                <a:gd name="connsiteY1" fmla="*/ 21166 h 322791"/>
                <a:gd name="connsiteX2" fmla="*/ 714375 w 862542"/>
                <a:gd name="connsiteY2" fmla="*/ 322791 h 322791"/>
                <a:gd name="connsiteX3" fmla="*/ 206375 w 862542"/>
                <a:gd name="connsiteY3" fmla="*/ 317500 h 322791"/>
                <a:gd name="connsiteX4" fmla="*/ 0 w 862542"/>
                <a:gd name="connsiteY4" fmla="*/ 0 h 322791"/>
                <a:gd name="connsiteX0" fmla="*/ 0 w 862542"/>
                <a:gd name="connsiteY0" fmla="*/ 0 h 322791"/>
                <a:gd name="connsiteX1" fmla="*/ 862542 w 862542"/>
                <a:gd name="connsiteY1" fmla="*/ 21166 h 322791"/>
                <a:gd name="connsiteX2" fmla="*/ 714375 w 862542"/>
                <a:gd name="connsiteY2" fmla="*/ 322791 h 322791"/>
                <a:gd name="connsiteX3" fmla="*/ 5292 w 862542"/>
                <a:gd name="connsiteY3" fmla="*/ 317500 h 322791"/>
                <a:gd name="connsiteX4" fmla="*/ 0 w 862542"/>
                <a:gd name="connsiteY4" fmla="*/ 0 h 322791"/>
                <a:gd name="connsiteX0" fmla="*/ 0 w 873125"/>
                <a:gd name="connsiteY0" fmla="*/ 0 h 317500"/>
                <a:gd name="connsiteX1" fmla="*/ 862542 w 873125"/>
                <a:gd name="connsiteY1" fmla="*/ 21166 h 317500"/>
                <a:gd name="connsiteX2" fmla="*/ 873125 w 873125"/>
                <a:gd name="connsiteY2" fmla="*/ 317500 h 317500"/>
                <a:gd name="connsiteX3" fmla="*/ 5292 w 873125"/>
                <a:gd name="connsiteY3" fmla="*/ 317500 h 317500"/>
                <a:gd name="connsiteX4" fmla="*/ 0 w 873125"/>
                <a:gd name="connsiteY4" fmla="*/ 0 h 317500"/>
                <a:gd name="connsiteX0" fmla="*/ 0 w 873125"/>
                <a:gd name="connsiteY0" fmla="*/ 0 h 317500"/>
                <a:gd name="connsiteX1" fmla="*/ 862542 w 873125"/>
                <a:gd name="connsiteY1" fmla="*/ 0 h 317500"/>
                <a:gd name="connsiteX2" fmla="*/ 873125 w 873125"/>
                <a:gd name="connsiteY2" fmla="*/ 317500 h 317500"/>
                <a:gd name="connsiteX3" fmla="*/ 5292 w 873125"/>
                <a:gd name="connsiteY3" fmla="*/ 317500 h 317500"/>
                <a:gd name="connsiteX4" fmla="*/ 0 w 873125"/>
                <a:gd name="connsiteY4" fmla="*/ 0 h 317500"/>
                <a:gd name="connsiteX0" fmla="*/ 0 w 862542"/>
                <a:gd name="connsiteY0" fmla="*/ 0 h 317500"/>
                <a:gd name="connsiteX1" fmla="*/ 862542 w 862542"/>
                <a:gd name="connsiteY1" fmla="*/ 0 h 317500"/>
                <a:gd name="connsiteX2" fmla="*/ 693209 w 862542"/>
                <a:gd name="connsiteY2" fmla="*/ 317500 h 317500"/>
                <a:gd name="connsiteX3" fmla="*/ 5292 w 862542"/>
                <a:gd name="connsiteY3" fmla="*/ 317500 h 317500"/>
                <a:gd name="connsiteX4" fmla="*/ 0 w 862542"/>
                <a:gd name="connsiteY4" fmla="*/ 0 h 317500"/>
                <a:gd name="connsiteX0" fmla="*/ 0 w 862542"/>
                <a:gd name="connsiteY0" fmla="*/ 0 h 317500"/>
                <a:gd name="connsiteX1" fmla="*/ 862542 w 862542"/>
                <a:gd name="connsiteY1" fmla="*/ 0 h 317500"/>
                <a:gd name="connsiteX2" fmla="*/ 756708 w 862542"/>
                <a:gd name="connsiteY2" fmla="*/ 190500 h 317500"/>
                <a:gd name="connsiteX3" fmla="*/ 693209 w 862542"/>
                <a:gd name="connsiteY3" fmla="*/ 317500 h 317500"/>
                <a:gd name="connsiteX4" fmla="*/ 5292 w 862542"/>
                <a:gd name="connsiteY4" fmla="*/ 317500 h 317500"/>
                <a:gd name="connsiteX5" fmla="*/ 0 w 862542"/>
                <a:gd name="connsiteY5" fmla="*/ 0 h 317500"/>
                <a:gd name="connsiteX0" fmla="*/ 0 w 867833"/>
                <a:gd name="connsiteY0" fmla="*/ 0 h 317500"/>
                <a:gd name="connsiteX1" fmla="*/ 862542 w 867833"/>
                <a:gd name="connsiteY1" fmla="*/ 0 h 317500"/>
                <a:gd name="connsiteX2" fmla="*/ 867833 w 867833"/>
                <a:gd name="connsiteY2" fmla="*/ 185208 h 317500"/>
                <a:gd name="connsiteX3" fmla="*/ 693209 w 867833"/>
                <a:gd name="connsiteY3" fmla="*/ 317500 h 317500"/>
                <a:gd name="connsiteX4" fmla="*/ 5292 w 867833"/>
                <a:gd name="connsiteY4" fmla="*/ 317500 h 317500"/>
                <a:gd name="connsiteX5" fmla="*/ 0 w 867833"/>
                <a:gd name="connsiteY5" fmla="*/ 0 h 317500"/>
                <a:gd name="connsiteX0" fmla="*/ 0 w 862542"/>
                <a:gd name="connsiteY0" fmla="*/ 0 h 317500"/>
                <a:gd name="connsiteX1" fmla="*/ 862542 w 862542"/>
                <a:gd name="connsiteY1" fmla="*/ 0 h 317500"/>
                <a:gd name="connsiteX2" fmla="*/ 693209 w 862542"/>
                <a:gd name="connsiteY2" fmla="*/ 317500 h 317500"/>
                <a:gd name="connsiteX3" fmla="*/ 5292 w 862542"/>
                <a:gd name="connsiteY3" fmla="*/ 317500 h 317500"/>
                <a:gd name="connsiteX4" fmla="*/ 0 w 862542"/>
                <a:gd name="connsiteY4" fmla="*/ 0 h 317500"/>
                <a:gd name="connsiteX0" fmla="*/ 0 w 862542"/>
                <a:gd name="connsiteY0" fmla="*/ 0 h 317500"/>
                <a:gd name="connsiteX1" fmla="*/ 862542 w 862542"/>
                <a:gd name="connsiteY1" fmla="*/ 0 h 317500"/>
                <a:gd name="connsiteX2" fmla="*/ 497417 w 862542"/>
                <a:gd name="connsiteY2" fmla="*/ 317500 h 317500"/>
                <a:gd name="connsiteX3" fmla="*/ 5292 w 862542"/>
                <a:gd name="connsiteY3" fmla="*/ 317500 h 317500"/>
                <a:gd name="connsiteX4" fmla="*/ 0 w 862542"/>
                <a:gd name="connsiteY4" fmla="*/ 0 h 317500"/>
                <a:gd name="connsiteX0" fmla="*/ 735542 w 1598084"/>
                <a:gd name="connsiteY0" fmla="*/ 0 h 322792"/>
                <a:gd name="connsiteX1" fmla="*/ 1598084 w 1598084"/>
                <a:gd name="connsiteY1" fmla="*/ 0 h 322792"/>
                <a:gd name="connsiteX2" fmla="*/ 1232959 w 1598084"/>
                <a:gd name="connsiteY2" fmla="*/ 317500 h 322792"/>
                <a:gd name="connsiteX3" fmla="*/ 0 w 1598084"/>
                <a:gd name="connsiteY3" fmla="*/ 322792 h 322792"/>
                <a:gd name="connsiteX4" fmla="*/ 735542 w 1598084"/>
                <a:gd name="connsiteY4" fmla="*/ 0 h 322792"/>
                <a:gd name="connsiteX0" fmla="*/ 5292 w 1598084"/>
                <a:gd name="connsiteY0" fmla="*/ 0 h 328083"/>
                <a:gd name="connsiteX1" fmla="*/ 1598084 w 1598084"/>
                <a:gd name="connsiteY1" fmla="*/ 5291 h 328083"/>
                <a:gd name="connsiteX2" fmla="*/ 1232959 w 1598084"/>
                <a:gd name="connsiteY2" fmla="*/ 322791 h 328083"/>
                <a:gd name="connsiteX3" fmla="*/ 0 w 1598084"/>
                <a:gd name="connsiteY3" fmla="*/ 328083 h 328083"/>
                <a:gd name="connsiteX4" fmla="*/ 5292 w 1598084"/>
                <a:gd name="connsiteY4" fmla="*/ 0 h 328083"/>
                <a:gd name="connsiteX0" fmla="*/ 0 w 1603376"/>
                <a:gd name="connsiteY0" fmla="*/ 10584 h 322792"/>
                <a:gd name="connsiteX1" fmla="*/ 1603376 w 1603376"/>
                <a:gd name="connsiteY1" fmla="*/ 0 h 322792"/>
                <a:gd name="connsiteX2" fmla="*/ 1238251 w 1603376"/>
                <a:gd name="connsiteY2" fmla="*/ 317500 h 322792"/>
                <a:gd name="connsiteX3" fmla="*/ 5292 w 1603376"/>
                <a:gd name="connsiteY3" fmla="*/ 322792 h 322792"/>
                <a:gd name="connsiteX4" fmla="*/ 0 w 1603376"/>
                <a:gd name="connsiteY4" fmla="*/ 10584 h 322792"/>
                <a:gd name="connsiteX0" fmla="*/ 211666 w 1598084"/>
                <a:gd name="connsiteY0" fmla="*/ 0 h 428625"/>
                <a:gd name="connsiteX1" fmla="*/ 1598084 w 1598084"/>
                <a:gd name="connsiteY1" fmla="*/ 105833 h 428625"/>
                <a:gd name="connsiteX2" fmla="*/ 1232959 w 1598084"/>
                <a:gd name="connsiteY2" fmla="*/ 423333 h 428625"/>
                <a:gd name="connsiteX3" fmla="*/ 0 w 1598084"/>
                <a:gd name="connsiteY3" fmla="*/ 428625 h 428625"/>
                <a:gd name="connsiteX4" fmla="*/ 211666 w 1598084"/>
                <a:gd name="connsiteY4" fmla="*/ 0 h 428625"/>
                <a:gd name="connsiteX0" fmla="*/ 10583 w 1598084"/>
                <a:gd name="connsiteY0" fmla="*/ 5292 h 322792"/>
                <a:gd name="connsiteX1" fmla="*/ 1598084 w 1598084"/>
                <a:gd name="connsiteY1" fmla="*/ 0 h 322792"/>
                <a:gd name="connsiteX2" fmla="*/ 1232959 w 1598084"/>
                <a:gd name="connsiteY2" fmla="*/ 317500 h 322792"/>
                <a:gd name="connsiteX3" fmla="*/ 0 w 1598084"/>
                <a:gd name="connsiteY3" fmla="*/ 322792 h 322792"/>
                <a:gd name="connsiteX4" fmla="*/ 10583 w 1598084"/>
                <a:gd name="connsiteY4" fmla="*/ 5292 h 322792"/>
                <a:gd name="connsiteX0" fmla="*/ 0 w 1603376"/>
                <a:gd name="connsiteY0" fmla="*/ 0 h 328083"/>
                <a:gd name="connsiteX1" fmla="*/ 1603376 w 1603376"/>
                <a:gd name="connsiteY1" fmla="*/ 5291 h 328083"/>
                <a:gd name="connsiteX2" fmla="*/ 1238251 w 1603376"/>
                <a:gd name="connsiteY2" fmla="*/ 322791 h 328083"/>
                <a:gd name="connsiteX3" fmla="*/ 5292 w 1603376"/>
                <a:gd name="connsiteY3" fmla="*/ 328083 h 328083"/>
                <a:gd name="connsiteX4" fmla="*/ 0 w 1603376"/>
                <a:gd name="connsiteY4" fmla="*/ 0 h 328083"/>
                <a:gd name="connsiteX0" fmla="*/ 10583 w 1598084"/>
                <a:gd name="connsiteY0" fmla="*/ 10584 h 322792"/>
                <a:gd name="connsiteX1" fmla="*/ 1598084 w 1598084"/>
                <a:gd name="connsiteY1" fmla="*/ 0 h 322792"/>
                <a:gd name="connsiteX2" fmla="*/ 1232959 w 1598084"/>
                <a:gd name="connsiteY2" fmla="*/ 317500 h 322792"/>
                <a:gd name="connsiteX3" fmla="*/ 0 w 1598084"/>
                <a:gd name="connsiteY3" fmla="*/ 322792 h 322792"/>
                <a:gd name="connsiteX4" fmla="*/ 10583 w 1598084"/>
                <a:gd name="connsiteY4" fmla="*/ 10584 h 322792"/>
                <a:gd name="connsiteX0" fmla="*/ 0 w 1601968"/>
                <a:gd name="connsiteY0" fmla="*/ 1059 h 322792"/>
                <a:gd name="connsiteX1" fmla="*/ 1601968 w 1601968"/>
                <a:gd name="connsiteY1" fmla="*/ 0 h 322792"/>
                <a:gd name="connsiteX2" fmla="*/ 1236843 w 1601968"/>
                <a:gd name="connsiteY2" fmla="*/ 317500 h 322792"/>
                <a:gd name="connsiteX3" fmla="*/ 3884 w 1601968"/>
                <a:gd name="connsiteY3" fmla="*/ 322792 h 322792"/>
                <a:gd name="connsiteX4" fmla="*/ 0 w 1601968"/>
                <a:gd name="connsiteY4" fmla="*/ 1059 h 32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1968" h="322792">
                  <a:moveTo>
                    <a:pt x="0" y="1059"/>
                  </a:moveTo>
                  <a:lnTo>
                    <a:pt x="1601968" y="0"/>
                  </a:lnTo>
                  <a:lnTo>
                    <a:pt x="1236843" y="317500"/>
                  </a:lnTo>
                  <a:lnTo>
                    <a:pt x="3884" y="322792"/>
                  </a:lnTo>
                  <a:cubicBezTo>
                    <a:pt x="2589" y="215548"/>
                    <a:pt x="1295" y="108303"/>
                    <a:pt x="0" y="1059"/>
                  </a:cubicBezTo>
                  <a:close/>
                </a:path>
              </a:pathLst>
            </a:custGeom>
            <a:solidFill>
              <a:srgbClr val="F89E16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kern="0" dirty="0">
                  <a:solidFill>
                    <a:schemeClr val="bg1"/>
                  </a:solidFill>
                  <a:latin typeface="Asap" panose="02000506040000020004" pitchFamily="2" charset="0"/>
                  <a:cs typeface="Arial" panose="020B0604020202020204" pitchFamily="34" charset="0"/>
                  <a:sym typeface="Asap" panose="02000506040000020004" pitchFamily="2" charset="0"/>
                </a:rPr>
                <a:t>Objectives</a:t>
              </a:r>
            </a:p>
          </p:txBody>
        </p:sp>
      </p:grpSp>
      <p:sp>
        <p:nvSpPr>
          <p:cNvPr id="9" name="Content Placeholder 3"/>
          <p:cNvSpPr>
            <a:spLocks noGrp="1"/>
          </p:cNvSpPr>
          <p:nvPr>
            <p:ph sz="half" idx="11"/>
          </p:nvPr>
        </p:nvSpPr>
        <p:spPr>
          <a:xfrm>
            <a:off x="297856" y="575599"/>
            <a:ext cx="2928630" cy="7064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aseline="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790143" y="2075966"/>
            <a:ext cx="1843531" cy="237654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aseline="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  <a:lvl2pPr>
              <a:defRPr sz="120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2pPr>
            <a:lvl3pPr>
              <a:defRPr sz="110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3pPr>
            <a:lvl4pPr>
              <a:defRPr sz="1200">
                <a:latin typeface="Asap"/>
                <a:cs typeface="Asap"/>
              </a:defRPr>
            </a:lvl4pPr>
            <a:lvl5pPr>
              <a:defRPr sz="1200">
                <a:latin typeface="Asap"/>
                <a:cs typeface="Asap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sz="half" idx="14"/>
          </p:nvPr>
        </p:nvSpPr>
        <p:spPr>
          <a:xfrm>
            <a:off x="7049248" y="2076744"/>
            <a:ext cx="1843531" cy="238136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aseline="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  <a:lvl2pPr>
              <a:defRPr sz="120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2pPr>
            <a:lvl3pPr>
              <a:defRPr sz="110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3pPr>
            <a:lvl4pPr>
              <a:defRPr sz="1200">
                <a:latin typeface="Asap"/>
                <a:cs typeface="Asap"/>
              </a:defRPr>
            </a:lvl4pPr>
            <a:lvl5pPr>
              <a:defRPr sz="1200">
                <a:latin typeface="Asap"/>
                <a:cs typeface="Asap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sz="half" idx="15"/>
          </p:nvPr>
        </p:nvSpPr>
        <p:spPr>
          <a:xfrm>
            <a:off x="3299256" y="614595"/>
            <a:ext cx="5700582" cy="9711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aseline="0">
                <a:solidFill>
                  <a:srgbClr val="A15C0E"/>
                </a:solidFill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  <a:lvl2pPr>
              <a:lnSpc>
                <a:spcPct val="100000"/>
              </a:lnSpc>
              <a:defRPr sz="1100">
                <a:solidFill>
                  <a:srgbClr val="A15C0E"/>
                </a:solidFill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2pPr>
            <a:lvl3pPr>
              <a:lnSpc>
                <a:spcPct val="100000"/>
              </a:lnSpc>
              <a:defRPr sz="1100">
                <a:solidFill>
                  <a:srgbClr val="A15C0E"/>
                </a:solidFill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3pPr>
            <a:lvl4pPr>
              <a:lnSpc>
                <a:spcPct val="100000"/>
              </a:lnSpc>
              <a:defRPr sz="1100">
                <a:latin typeface="Asap"/>
                <a:cs typeface="Asap"/>
              </a:defRPr>
            </a:lvl4pPr>
            <a:lvl5pPr>
              <a:defRPr sz="1200">
                <a:latin typeface="Asap"/>
                <a:cs typeface="Asap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/>
          </p:nvPr>
        </p:nvSpPr>
        <p:spPr>
          <a:xfrm>
            <a:off x="316756" y="2078354"/>
            <a:ext cx="1843531" cy="237975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aseline="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  <a:lvl2pPr>
              <a:defRPr sz="120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2pPr>
            <a:lvl3pPr>
              <a:defRPr sz="110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3pPr>
            <a:lvl4pPr>
              <a:defRPr sz="1050">
                <a:latin typeface="Asap"/>
                <a:cs typeface="Asap"/>
              </a:defRPr>
            </a:lvl4pPr>
            <a:lvl5pPr>
              <a:defRPr sz="1050">
                <a:latin typeface="Asap"/>
                <a:cs typeface="Asap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2"/>
          </p:nvPr>
        </p:nvSpPr>
        <p:spPr>
          <a:xfrm>
            <a:off x="2493685" y="2077751"/>
            <a:ext cx="1843531" cy="23803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aseline="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  <a:lvl2pPr>
              <a:defRPr sz="120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2pPr>
            <a:lvl3pPr>
              <a:defRPr sz="110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3pPr>
            <a:lvl4pPr>
              <a:defRPr sz="1200">
                <a:latin typeface="Asap"/>
                <a:cs typeface="Asap"/>
              </a:defRPr>
            </a:lvl4pPr>
            <a:lvl5pPr>
              <a:defRPr sz="1200">
                <a:latin typeface="Asap"/>
                <a:cs typeface="Asap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D0409330-0C63-4904-B414-E78049B3FA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0"/>
            <a:ext cx="6053070" cy="470079"/>
          </a:xfrm>
          <a:prstGeom prst="rect">
            <a:avLst/>
          </a:prstGeom>
        </p:spPr>
        <p:txBody>
          <a:bodyPr/>
          <a:lstStyle>
            <a:lvl1pPr algn="l">
              <a:defRPr sz="200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09470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WD Char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900698D-BA85-4C4D-A453-D48DF822B3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4888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2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387FBA5-D28D-4ED3-AC93-EE4E75DF1B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sap" panose="02000506040000020004" pitchFamily="2" charset="0"/>
              <a:ea typeface="ＭＳ Ｐゴシック" panose="020B0600070205080204" pitchFamily="34" charset="-128"/>
              <a:cs typeface="Arial" panose="020B0604020202020204" pitchFamily="34" charset="0"/>
              <a:sym typeface="Asap" panose="02000506040000020004" pitchFamily="2" charset="0"/>
            </a:endParaRPr>
          </a:p>
        </p:txBody>
      </p:sp>
      <p:pic>
        <p:nvPicPr>
          <p:cNvPr id="8" name="WBA_Connected_City_Background_RBG_Medium.png"/>
          <p:cNvPicPr>
            <a:picLocks noChangeAspect="1"/>
          </p:cNvPicPr>
          <p:nvPr userDrawn="1"/>
        </p:nvPicPr>
        <p:blipFill rotWithShape="1">
          <a:blip r:embed="rId7" r:link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921101"/>
            <a:ext cx="5799170" cy="3232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Freeform 8"/>
          <p:cNvSpPr/>
          <p:nvPr/>
        </p:nvSpPr>
        <p:spPr>
          <a:xfrm>
            <a:off x="0" y="1912675"/>
            <a:ext cx="5802828" cy="3230826"/>
          </a:xfrm>
          <a:custGeom>
            <a:avLst/>
            <a:gdLst>
              <a:gd name="connsiteX0" fmla="*/ 0 w 4917440"/>
              <a:gd name="connsiteY0" fmla="*/ 152400 h 3810000"/>
              <a:gd name="connsiteX1" fmla="*/ 4917440 w 4917440"/>
              <a:gd name="connsiteY1" fmla="*/ 3810000 h 3810000"/>
              <a:gd name="connsiteX2" fmla="*/ 4886960 w 4917440"/>
              <a:gd name="connsiteY2" fmla="*/ 0 h 3810000"/>
              <a:gd name="connsiteX3" fmla="*/ 0 w 4917440"/>
              <a:gd name="connsiteY3" fmla="*/ 152400 h 3810000"/>
              <a:gd name="connsiteX0" fmla="*/ 0 w 4917440"/>
              <a:gd name="connsiteY0" fmla="*/ 0 h 3657600"/>
              <a:gd name="connsiteX1" fmla="*/ 4917440 w 4917440"/>
              <a:gd name="connsiteY1" fmla="*/ 3657600 h 3657600"/>
              <a:gd name="connsiteX2" fmla="*/ 4907280 w 4917440"/>
              <a:gd name="connsiteY2" fmla="*/ 20320 h 3657600"/>
              <a:gd name="connsiteX3" fmla="*/ 0 w 4917440"/>
              <a:gd name="connsiteY3" fmla="*/ 0 h 3657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17440" h="3657600">
                <a:moveTo>
                  <a:pt x="0" y="0"/>
                </a:moveTo>
                <a:lnTo>
                  <a:pt x="4917440" y="3657600"/>
                </a:lnTo>
                <a:cubicBezTo>
                  <a:pt x="4914053" y="2445173"/>
                  <a:pt x="4910667" y="1232747"/>
                  <a:pt x="4907280" y="20320"/>
                </a:cubicBezTo>
                <a:lnTo>
                  <a:pt x="0" y="0"/>
                </a:lnTo>
                <a:close/>
              </a:path>
            </a:pathLst>
          </a:custGeom>
          <a:ln>
            <a:solidFill>
              <a:srgbClr val="FFFFFF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latin typeface="Asap" panose="02000506040000020004" pitchFamily="2" charset="0"/>
              <a:cs typeface="Arial" panose="020B0604020202020204" pitchFamily="34" charset="0"/>
              <a:sym typeface="Asap" panose="02000506040000020004" pitchFamily="2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3360738" y="3401616"/>
            <a:ext cx="5041900" cy="613172"/>
          </a:xfrm>
          <a:prstGeom prst="rect">
            <a:avLst/>
          </a:prstGeom>
          <a:solidFill>
            <a:srgbClr val="C4C5CA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latin typeface="Asap" panose="02000506040000020004" pitchFamily="2" charset="0"/>
              <a:cs typeface="Arial" panose="020B0604020202020204" pitchFamily="34" charset="0"/>
              <a:sym typeface="Asap" panose="02000506040000020004" pitchFamily="2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8404225" y="3399235"/>
            <a:ext cx="179388" cy="615553"/>
          </a:xfrm>
          <a:prstGeom prst="rect">
            <a:avLst/>
          </a:prstGeom>
          <a:solidFill>
            <a:srgbClr val="83006E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latin typeface="Asap" panose="02000506040000020004" pitchFamily="2" charset="0"/>
              <a:cs typeface="Arial" panose="020B0604020202020204" pitchFamily="34" charset="0"/>
              <a:sym typeface="Asap" panose="02000506040000020004" pitchFamily="2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3367088" y="2537222"/>
            <a:ext cx="5041900" cy="613172"/>
          </a:xfrm>
          <a:prstGeom prst="rect">
            <a:avLst/>
          </a:prstGeom>
          <a:solidFill>
            <a:srgbClr val="C4C5CA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latin typeface="Asap" panose="02000506040000020004" pitchFamily="2" charset="0"/>
              <a:cs typeface="Arial" panose="020B0604020202020204" pitchFamily="34" charset="0"/>
              <a:sym typeface="Asap" panose="02000506040000020004" pitchFamily="2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8410575" y="2534841"/>
            <a:ext cx="179388" cy="615553"/>
          </a:xfrm>
          <a:prstGeom prst="rect">
            <a:avLst/>
          </a:prstGeom>
          <a:solidFill>
            <a:srgbClr val="83006E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latin typeface="Asap" panose="02000506040000020004" pitchFamily="2" charset="0"/>
              <a:cs typeface="Arial" panose="020B0604020202020204" pitchFamily="34" charset="0"/>
              <a:sym typeface="Asap" panose="02000506040000020004" pitchFamily="2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11457" y="4801039"/>
            <a:ext cx="3512501" cy="253916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0" dirty="0">
                <a:solidFill>
                  <a:srgbClr val="FFFFFF"/>
                </a:solidFill>
                <a:latin typeface="Asap" panose="02000506040000020004" pitchFamily="2" charset="0"/>
                <a:ea typeface="Arial"/>
                <a:cs typeface="Arial" panose="020B0604020202020204" pitchFamily="34" charset="0"/>
                <a:sym typeface="Asap" panose="02000506040000020004" pitchFamily="2" charset="0"/>
              </a:rPr>
              <a:t>Copyright © 2018 </a:t>
            </a:r>
            <a:r>
              <a:rPr lang="en-US" sz="1050" kern="0" dirty="0">
                <a:solidFill>
                  <a:srgbClr val="FFFFFF"/>
                </a:solidFill>
                <a:latin typeface="Asap" panose="02000506040000020004" pitchFamily="2" charset="0"/>
                <a:ea typeface="Arial"/>
                <a:cs typeface="Arial" panose="020B0604020202020204" pitchFamily="34" charset="0"/>
                <a:sym typeface="Asap" panose="02000506040000020004" pitchFamily="2" charset="0"/>
              </a:rPr>
              <a:t>|</a:t>
            </a:r>
            <a:r>
              <a:rPr lang="en-US" sz="800" kern="0" dirty="0">
                <a:solidFill>
                  <a:srgbClr val="FFFFFF"/>
                </a:solidFill>
                <a:latin typeface="Asap" panose="02000506040000020004" pitchFamily="2" charset="0"/>
                <a:ea typeface="Arial"/>
                <a:cs typeface="Arial" panose="020B0604020202020204" pitchFamily="34" charset="0"/>
                <a:sym typeface="Asap" panose="02000506040000020004" pitchFamily="2" charset="0"/>
              </a:rPr>
              <a:t> Wireless Broadband Alliance Ltd. All rights reserved  </a:t>
            </a:r>
          </a:p>
        </p:txBody>
      </p:sp>
      <p:sp>
        <p:nvSpPr>
          <p:cNvPr id="19" name="Rectangle 18"/>
          <p:cNvSpPr/>
          <p:nvPr/>
        </p:nvSpPr>
        <p:spPr>
          <a:xfrm>
            <a:off x="3370263" y="813197"/>
            <a:ext cx="5041900" cy="613172"/>
          </a:xfrm>
          <a:prstGeom prst="rect">
            <a:avLst/>
          </a:prstGeom>
          <a:solidFill>
            <a:srgbClr val="C4C5CA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latin typeface="Asap" panose="02000506040000020004" pitchFamily="2" charset="0"/>
              <a:cs typeface="Arial" panose="020B0604020202020204" pitchFamily="34" charset="0"/>
              <a:sym typeface="Asap" panose="02000506040000020004" pitchFamily="2" charset="0"/>
            </a:endParaRPr>
          </a:p>
        </p:txBody>
      </p:sp>
      <p:sp>
        <p:nvSpPr>
          <p:cNvPr id="20" name="Freeform 19"/>
          <p:cNvSpPr/>
          <p:nvPr/>
        </p:nvSpPr>
        <p:spPr>
          <a:xfrm>
            <a:off x="3362326" y="813198"/>
            <a:ext cx="2263775" cy="311944"/>
          </a:xfrm>
          <a:custGeom>
            <a:avLst/>
            <a:gdLst>
              <a:gd name="connsiteX0" fmla="*/ 0 w 862542"/>
              <a:gd name="connsiteY0" fmla="*/ 0 h 322791"/>
              <a:gd name="connsiteX1" fmla="*/ 862542 w 862542"/>
              <a:gd name="connsiteY1" fmla="*/ 21166 h 322791"/>
              <a:gd name="connsiteX2" fmla="*/ 714375 w 862542"/>
              <a:gd name="connsiteY2" fmla="*/ 322791 h 322791"/>
              <a:gd name="connsiteX3" fmla="*/ 206375 w 862542"/>
              <a:gd name="connsiteY3" fmla="*/ 317500 h 322791"/>
              <a:gd name="connsiteX4" fmla="*/ 0 w 862542"/>
              <a:gd name="connsiteY4" fmla="*/ 0 h 322791"/>
              <a:gd name="connsiteX0" fmla="*/ 0 w 862542"/>
              <a:gd name="connsiteY0" fmla="*/ 0 h 322791"/>
              <a:gd name="connsiteX1" fmla="*/ 862542 w 862542"/>
              <a:gd name="connsiteY1" fmla="*/ 21166 h 322791"/>
              <a:gd name="connsiteX2" fmla="*/ 714375 w 862542"/>
              <a:gd name="connsiteY2" fmla="*/ 322791 h 322791"/>
              <a:gd name="connsiteX3" fmla="*/ 5292 w 862542"/>
              <a:gd name="connsiteY3" fmla="*/ 317500 h 322791"/>
              <a:gd name="connsiteX4" fmla="*/ 0 w 862542"/>
              <a:gd name="connsiteY4" fmla="*/ 0 h 322791"/>
              <a:gd name="connsiteX0" fmla="*/ 0 w 873125"/>
              <a:gd name="connsiteY0" fmla="*/ 0 h 317500"/>
              <a:gd name="connsiteX1" fmla="*/ 862542 w 873125"/>
              <a:gd name="connsiteY1" fmla="*/ 21166 h 317500"/>
              <a:gd name="connsiteX2" fmla="*/ 873125 w 873125"/>
              <a:gd name="connsiteY2" fmla="*/ 317500 h 317500"/>
              <a:gd name="connsiteX3" fmla="*/ 5292 w 873125"/>
              <a:gd name="connsiteY3" fmla="*/ 317500 h 317500"/>
              <a:gd name="connsiteX4" fmla="*/ 0 w 873125"/>
              <a:gd name="connsiteY4" fmla="*/ 0 h 317500"/>
              <a:gd name="connsiteX0" fmla="*/ 0 w 873125"/>
              <a:gd name="connsiteY0" fmla="*/ 0 h 317500"/>
              <a:gd name="connsiteX1" fmla="*/ 862542 w 873125"/>
              <a:gd name="connsiteY1" fmla="*/ 0 h 317500"/>
              <a:gd name="connsiteX2" fmla="*/ 873125 w 873125"/>
              <a:gd name="connsiteY2" fmla="*/ 317500 h 317500"/>
              <a:gd name="connsiteX3" fmla="*/ 5292 w 873125"/>
              <a:gd name="connsiteY3" fmla="*/ 317500 h 317500"/>
              <a:gd name="connsiteX4" fmla="*/ 0 w 873125"/>
              <a:gd name="connsiteY4" fmla="*/ 0 h 317500"/>
              <a:gd name="connsiteX0" fmla="*/ 0 w 862542"/>
              <a:gd name="connsiteY0" fmla="*/ 0 h 317500"/>
              <a:gd name="connsiteX1" fmla="*/ 862542 w 862542"/>
              <a:gd name="connsiteY1" fmla="*/ 0 h 317500"/>
              <a:gd name="connsiteX2" fmla="*/ 693209 w 862542"/>
              <a:gd name="connsiteY2" fmla="*/ 317500 h 317500"/>
              <a:gd name="connsiteX3" fmla="*/ 5292 w 862542"/>
              <a:gd name="connsiteY3" fmla="*/ 317500 h 317500"/>
              <a:gd name="connsiteX4" fmla="*/ 0 w 862542"/>
              <a:gd name="connsiteY4" fmla="*/ 0 h 317500"/>
              <a:gd name="connsiteX0" fmla="*/ 0 w 862542"/>
              <a:gd name="connsiteY0" fmla="*/ 0 h 317500"/>
              <a:gd name="connsiteX1" fmla="*/ 862542 w 862542"/>
              <a:gd name="connsiteY1" fmla="*/ 0 h 317500"/>
              <a:gd name="connsiteX2" fmla="*/ 756708 w 862542"/>
              <a:gd name="connsiteY2" fmla="*/ 190500 h 317500"/>
              <a:gd name="connsiteX3" fmla="*/ 693209 w 862542"/>
              <a:gd name="connsiteY3" fmla="*/ 317500 h 317500"/>
              <a:gd name="connsiteX4" fmla="*/ 5292 w 862542"/>
              <a:gd name="connsiteY4" fmla="*/ 317500 h 317500"/>
              <a:gd name="connsiteX5" fmla="*/ 0 w 862542"/>
              <a:gd name="connsiteY5" fmla="*/ 0 h 317500"/>
              <a:gd name="connsiteX0" fmla="*/ 0 w 867833"/>
              <a:gd name="connsiteY0" fmla="*/ 0 h 317500"/>
              <a:gd name="connsiteX1" fmla="*/ 862542 w 867833"/>
              <a:gd name="connsiteY1" fmla="*/ 0 h 317500"/>
              <a:gd name="connsiteX2" fmla="*/ 867833 w 867833"/>
              <a:gd name="connsiteY2" fmla="*/ 185208 h 317500"/>
              <a:gd name="connsiteX3" fmla="*/ 693209 w 867833"/>
              <a:gd name="connsiteY3" fmla="*/ 317500 h 317500"/>
              <a:gd name="connsiteX4" fmla="*/ 5292 w 867833"/>
              <a:gd name="connsiteY4" fmla="*/ 317500 h 317500"/>
              <a:gd name="connsiteX5" fmla="*/ 0 w 867833"/>
              <a:gd name="connsiteY5" fmla="*/ 0 h 317500"/>
              <a:gd name="connsiteX0" fmla="*/ 0 w 862542"/>
              <a:gd name="connsiteY0" fmla="*/ 0 h 317500"/>
              <a:gd name="connsiteX1" fmla="*/ 862542 w 862542"/>
              <a:gd name="connsiteY1" fmla="*/ 0 h 317500"/>
              <a:gd name="connsiteX2" fmla="*/ 693209 w 862542"/>
              <a:gd name="connsiteY2" fmla="*/ 317500 h 317500"/>
              <a:gd name="connsiteX3" fmla="*/ 5292 w 862542"/>
              <a:gd name="connsiteY3" fmla="*/ 317500 h 317500"/>
              <a:gd name="connsiteX4" fmla="*/ 0 w 862542"/>
              <a:gd name="connsiteY4" fmla="*/ 0 h 317500"/>
              <a:gd name="connsiteX0" fmla="*/ 0 w 862542"/>
              <a:gd name="connsiteY0" fmla="*/ 0 h 317500"/>
              <a:gd name="connsiteX1" fmla="*/ 862542 w 862542"/>
              <a:gd name="connsiteY1" fmla="*/ 0 h 317500"/>
              <a:gd name="connsiteX2" fmla="*/ 497417 w 862542"/>
              <a:gd name="connsiteY2" fmla="*/ 317500 h 317500"/>
              <a:gd name="connsiteX3" fmla="*/ 5292 w 862542"/>
              <a:gd name="connsiteY3" fmla="*/ 317500 h 317500"/>
              <a:gd name="connsiteX4" fmla="*/ 0 w 862542"/>
              <a:gd name="connsiteY4" fmla="*/ 0 h 317500"/>
              <a:gd name="connsiteX0" fmla="*/ 735542 w 1598084"/>
              <a:gd name="connsiteY0" fmla="*/ 0 h 322792"/>
              <a:gd name="connsiteX1" fmla="*/ 1598084 w 1598084"/>
              <a:gd name="connsiteY1" fmla="*/ 0 h 322792"/>
              <a:gd name="connsiteX2" fmla="*/ 1232959 w 1598084"/>
              <a:gd name="connsiteY2" fmla="*/ 317500 h 322792"/>
              <a:gd name="connsiteX3" fmla="*/ 0 w 1598084"/>
              <a:gd name="connsiteY3" fmla="*/ 322792 h 322792"/>
              <a:gd name="connsiteX4" fmla="*/ 735542 w 1598084"/>
              <a:gd name="connsiteY4" fmla="*/ 0 h 322792"/>
              <a:gd name="connsiteX0" fmla="*/ 5292 w 1598084"/>
              <a:gd name="connsiteY0" fmla="*/ 0 h 328083"/>
              <a:gd name="connsiteX1" fmla="*/ 1598084 w 1598084"/>
              <a:gd name="connsiteY1" fmla="*/ 5291 h 328083"/>
              <a:gd name="connsiteX2" fmla="*/ 1232959 w 1598084"/>
              <a:gd name="connsiteY2" fmla="*/ 322791 h 328083"/>
              <a:gd name="connsiteX3" fmla="*/ 0 w 1598084"/>
              <a:gd name="connsiteY3" fmla="*/ 328083 h 328083"/>
              <a:gd name="connsiteX4" fmla="*/ 5292 w 1598084"/>
              <a:gd name="connsiteY4" fmla="*/ 0 h 328083"/>
              <a:gd name="connsiteX0" fmla="*/ 0 w 1603376"/>
              <a:gd name="connsiteY0" fmla="*/ 10584 h 322792"/>
              <a:gd name="connsiteX1" fmla="*/ 1603376 w 1603376"/>
              <a:gd name="connsiteY1" fmla="*/ 0 h 322792"/>
              <a:gd name="connsiteX2" fmla="*/ 1238251 w 1603376"/>
              <a:gd name="connsiteY2" fmla="*/ 317500 h 322792"/>
              <a:gd name="connsiteX3" fmla="*/ 5292 w 1603376"/>
              <a:gd name="connsiteY3" fmla="*/ 322792 h 322792"/>
              <a:gd name="connsiteX4" fmla="*/ 0 w 1603376"/>
              <a:gd name="connsiteY4" fmla="*/ 10584 h 322792"/>
              <a:gd name="connsiteX0" fmla="*/ 211666 w 1598084"/>
              <a:gd name="connsiteY0" fmla="*/ 0 h 428625"/>
              <a:gd name="connsiteX1" fmla="*/ 1598084 w 1598084"/>
              <a:gd name="connsiteY1" fmla="*/ 105833 h 428625"/>
              <a:gd name="connsiteX2" fmla="*/ 1232959 w 1598084"/>
              <a:gd name="connsiteY2" fmla="*/ 423333 h 428625"/>
              <a:gd name="connsiteX3" fmla="*/ 0 w 1598084"/>
              <a:gd name="connsiteY3" fmla="*/ 428625 h 428625"/>
              <a:gd name="connsiteX4" fmla="*/ 211666 w 1598084"/>
              <a:gd name="connsiteY4" fmla="*/ 0 h 428625"/>
              <a:gd name="connsiteX0" fmla="*/ 10583 w 1598084"/>
              <a:gd name="connsiteY0" fmla="*/ 5292 h 322792"/>
              <a:gd name="connsiteX1" fmla="*/ 1598084 w 1598084"/>
              <a:gd name="connsiteY1" fmla="*/ 0 h 322792"/>
              <a:gd name="connsiteX2" fmla="*/ 1232959 w 1598084"/>
              <a:gd name="connsiteY2" fmla="*/ 317500 h 322792"/>
              <a:gd name="connsiteX3" fmla="*/ 0 w 1598084"/>
              <a:gd name="connsiteY3" fmla="*/ 322792 h 322792"/>
              <a:gd name="connsiteX4" fmla="*/ 10583 w 1598084"/>
              <a:gd name="connsiteY4" fmla="*/ 5292 h 322792"/>
              <a:gd name="connsiteX0" fmla="*/ 0 w 1603376"/>
              <a:gd name="connsiteY0" fmla="*/ 0 h 328083"/>
              <a:gd name="connsiteX1" fmla="*/ 1603376 w 1603376"/>
              <a:gd name="connsiteY1" fmla="*/ 5291 h 328083"/>
              <a:gd name="connsiteX2" fmla="*/ 1238251 w 1603376"/>
              <a:gd name="connsiteY2" fmla="*/ 322791 h 328083"/>
              <a:gd name="connsiteX3" fmla="*/ 5292 w 1603376"/>
              <a:gd name="connsiteY3" fmla="*/ 328083 h 328083"/>
              <a:gd name="connsiteX4" fmla="*/ 0 w 1603376"/>
              <a:gd name="connsiteY4" fmla="*/ 0 h 328083"/>
              <a:gd name="connsiteX0" fmla="*/ 10583 w 1598084"/>
              <a:gd name="connsiteY0" fmla="*/ 10584 h 322792"/>
              <a:gd name="connsiteX1" fmla="*/ 1598084 w 1598084"/>
              <a:gd name="connsiteY1" fmla="*/ 0 h 322792"/>
              <a:gd name="connsiteX2" fmla="*/ 1232959 w 1598084"/>
              <a:gd name="connsiteY2" fmla="*/ 317500 h 322792"/>
              <a:gd name="connsiteX3" fmla="*/ 0 w 1598084"/>
              <a:gd name="connsiteY3" fmla="*/ 322792 h 322792"/>
              <a:gd name="connsiteX4" fmla="*/ 10583 w 1598084"/>
              <a:gd name="connsiteY4" fmla="*/ 10584 h 322792"/>
              <a:gd name="connsiteX0" fmla="*/ 0 w 1601968"/>
              <a:gd name="connsiteY0" fmla="*/ 1059 h 322792"/>
              <a:gd name="connsiteX1" fmla="*/ 1601968 w 1601968"/>
              <a:gd name="connsiteY1" fmla="*/ 0 h 322792"/>
              <a:gd name="connsiteX2" fmla="*/ 1236843 w 1601968"/>
              <a:gd name="connsiteY2" fmla="*/ 317500 h 322792"/>
              <a:gd name="connsiteX3" fmla="*/ 3884 w 1601968"/>
              <a:gd name="connsiteY3" fmla="*/ 322792 h 322792"/>
              <a:gd name="connsiteX4" fmla="*/ 0 w 1601968"/>
              <a:gd name="connsiteY4" fmla="*/ 1059 h 3227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1968" h="322792">
                <a:moveTo>
                  <a:pt x="0" y="1059"/>
                </a:moveTo>
                <a:lnTo>
                  <a:pt x="1601968" y="0"/>
                </a:lnTo>
                <a:lnTo>
                  <a:pt x="1236843" y="317500"/>
                </a:lnTo>
                <a:lnTo>
                  <a:pt x="3884" y="322792"/>
                </a:lnTo>
                <a:cubicBezTo>
                  <a:pt x="2589" y="215548"/>
                  <a:pt x="1295" y="108303"/>
                  <a:pt x="0" y="1059"/>
                </a:cubicBezTo>
                <a:close/>
              </a:path>
            </a:pathLst>
          </a:custGeom>
          <a:solidFill>
            <a:srgbClr val="83006E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b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kern="0" dirty="0">
                <a:solidFill>
                  <a:schemeClr val="tx1"/>
                </a:solidFill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rPr>
              <a:t>H</a:t>
            </a:r>
            <a:r>
              <a:rPr lang="en-US" sz="1800" kern="0" dirty="0">
                <a:solidFill>
                  <a:schemeClr val="bg1"/>
                </a:solidFill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rPr>
              <a:t>elp</a:t>
            </a:r>
          </a:p>
        </p:txBody>
      </p:sp>
      <p:sp>
        <p:nvSpPr>
          <p:cNvPr id="21" name="Rectangle 20"/>
          <p:cNvSpPr/>
          <p:nvPr/>
        </p:nvSpPr>
        <p:spPr>
          <a:xfrm>
            <a:off x="8413750" y="810816"/>
            <a:ext cx="179388" cy="615553"/>
          </a:xfrm>
          <a:prstGeom prst="rect">
            <a:avLst/>
          </a:prstGeom>
          <a:solidFill>
            <a:srgbClr val="83006E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latin typeface="Asap" panose="02000506040000020004" pitchFamily="2" charset="0"/>
              <a:cs typeface="Arial" panose="020B0604020202020204" pitchFamily="34" charset="0"/>
              <a:sym typeface="Asap" panose="02000506040000020004" pitchFamily="2" charset="0"/>
            </a:endParaRPr>
          </a:p>
        </p:txBody>
      </p:sp>
      <p:sp>
        <p:nvSpPr>
          <p:cNvPr id="22" name="Freeform 21"/>
          <p:cNvSpPr/>
          <p:nvPr/>
        </p:nvSpPr>
        <p:spPr>
          <a:xfrm>
            <a:off x="3362325" y="2537223"/>
            <a:ext cx="2262188" cy="311944"/>
          </a:xfrm>
          <a:custGeom>
            <a:avLst/>
            <a:gdLst>
              <a:gd name="connsiteX0" fmla="*/ 0 w 862542"/>
              <a:gd name="connsiteY0" fmla="*/ 0 h 322791"/>
              <a:gd name="connsiteX1" fmla="*/ 862542 w 862542"/>
              <a:gd name="connsiteY1" fmla="*/ 21166 h 322791"/>
              <a:gd name="connsiteX2" fmla="*/ 714375 w 862542"/>
              <a:gd name="connsiteY2" fmla="*/ 322791 h 322791"/>
              <a:gd name="connsiteX3" fmla="*/ 206375 w 862542"/>
              <a:gd name="connsiteY3" fmla="*/ 317500 h 322791"/>
              <a:gd name="connsiteX4" fmla="*/ 0 w 862542"/>
              <a:gd name="connsiteY4" fmla="*/ 0 h 322791"/>
              <a:gd name="connsiteX0" fmla="*/ 0 w 862542"/>
              <a:gd name="connsiteY0" fmla="*/ 0 h 322791"/>
              <a:gd name="connsiteX1" fmla="*/ 862542 w 862542"/>
              <a:gd name="connsiteY1" fmla="*/ 21166 h 322791"/>
              <a:gd name="connsiteX2" fmla="*/ 714375 w 862542"/>
              <a:gd name="connsiteY2" fmla="*/ 322791 h 322791"/>
              <a:gd name="connsiteX3" fmla="*/ 5292 w 862542"/>
              <a:gd name="connsiteY3" fmla="*/ 317500 h 322791"/>
              <a:gd name="connsiteX4" fmla="*/ 0 w 862542"/>
              <a:gd name="connsiteY4" fmla="*/ 0 h 322791"/>
              <a:gd name="connsiteX0" fmla="*/ 0 w 873125"/>
              <a:gd name="connsiteY0" fmla="*/ 0 h 317500"/>
              <a:gd name="connsiteX1" fmla="*/ 862542 w 873125"/>
              <a:gd name="connsiteY1" fmla="*/ 21166 h 317500"/>
              <a:gd name="connsiteX2" fmla="*/ 873125 w 873125"/>
              <a:gd name="connsiteY2" fmla="*/ 317500 h 317500"/>
              <a:gd name="connsiteX3" fmla="*/ 5292 w 873125"/>
              <a:gd name="connsiteY3" fmla="*/ 317500 h 317500"/>
              <a:gd name="connsiteX4" fmla="*/ 0 w 873125"/>
              <a:gd name="connsiteY4" fmla="*/ 0 h 317500"/>
              <a:gd name="connsiteX0" fmla="*/ 0 w 873125"/>
              <a:gd name="connsiteY0" fmla="*/ 0 h 317500"/>
              <a:gd name="connsiteX1" fmla="*/ 862542 w 873125"/>
              <a:gd name="connsiteY1" fmla="*/ 0 h 317500"/>
              <a:gd name="connsiteX2" fmla="*/ 873125 w 873125"/>
              <a:gd name="connsiteY2" fmla="*/ 317500 h 317500"/>
              <a:gd name="connsiteX3" fmla="*/ 5292 w 873125"/>
              <a:gd name="connsiteY3" fmla="*/ 317500 h 317500"/>
              <a:gd name="connsiteX4" fmla="*/ 0 w 873125"/>
              <a:gd name="connsiteY4" fmla="*/ 0 h 317500"/>
              <a:gd name="connsiteX0" fmla="*/ 0 w 862542"/>
              <a:gd name="connsiteY0" fmla="*/ 0 h 317500"/>
              <a:gd name="connsiteX1" fmla="*/ 862542 w 862542"/>
              <a:gd name="connsiteY1" fmla="*/ 0 h 317500"/>
              <a:gd name="connsiteX2" fmla="*/ 693209 w 862542"/>
              <a:gd name="connsiteY2" fmla="*/ 317500 h 317500"/>
              <a:gd name="connsiteX3" fmla="*/ 5292 w 862542"/>
              <a:gd name="connsiteY3" fmla="*/ 317500 h 317500"/>
              <a:gd name="connsiteX4" fmla="*/ 0 w 862542"/>
              <a:gd name="connsiteY4" fmla="*/ 0 h 317500"/>
              <a:gd name="connsiteX0" fmla="*/ 0 w 862542"/>
              <a:gd name="connsiteY0" fmla="*/ 0 h 317500"/>
              <a:gd name="connsiteX1" fmla="*/ 862542 w 862542"/>
              <a:gd name="connsiteY1" fmla="*/ 0 h 317500"/>
              <a:gd name="connsiteX2" fmla="*/ 756708 w 862542"/>
              <a:gd name="connsiteY2" fmla="*/ 190500 h 317500"/>
              <a:gd name="connsiteX3" fmla="*/ 693209 w 862542"/>
              <a:gd name="connsiteY3" fmla="*/ 317500 h 317500"/>
              <a:gd name="connsiteX4" fmla="*/ 5292 w 862542"/>
              <a:gd name="connsiteY4" fmla="*/ 317500 h 317500"/>
              <a:gd name="connsiteX5" fmla="*/ 0 w 862542"/>
              <a:gd name="connsiteY5" fmla="*/ 0 h 317500"/>
              <a:gd name="connsiteX0" fmla="*/ 0 w 867833"/>
              <a:gd name="connsiteY0" fmla="*/ 0 h 317500"/>
              <a:gd name="connsiteX1" fmla="*/ 862542 w 867833"/>
              <a:gd name="connsiteY1" fmla="*/ 0 h 317500"/>
              <a:gd name="connsiteX2" fmla="*/ 867833 w 867833"/>
              <a:gd name="connsiteY2" fmla="*/ 185208 h 317500"/>
              <a:gd name="connsiteX3" fmla="*/ 693209 w 867833"/>
              <a:gd name="connsiteY3" fmla="*/ 317500 h 317500"/>
              <a:gd name="connsiteX4" fmla="*/ 5292 w 867833"/>
              <a:gd name="connsiteY4" fmla="*/ 317500 h 317500"/>
              <a:gd name="connsiteX5" fmla="*/ 0 w 867833"/>
              <a:gd name="connsiteY5" fmla="*/ 0 h 317500"/>
              <a:gd name="connsiteX0" fmla="*/ 0 w 862542"/>
              <a:gd name="connsiteY0" fmla="*/ 0 h 317500"/>
              <a:gd name="connsiteX1" fmla="*/ 862542 w 862542"/>
              <a:gd name="connsiteY1" fmla="*/ 0 h 317500"/>
              <a:gd name="connsiteX2" fmla="*/ 693209 w 862542"/>
              <a:gd name="connsiteY2" fmla="*/ 317500 h 317500"/>
              <a:gd name="connsiteX3" fmla="*/ 5292 w 862542"/>
              <a:gd name="connsiteY3" fmla="*/ 317500 h 317500"/>
              <a:gd name="connsiteX4" fmla="*/ 0 w 862542"/>
              <a:gd name="connsiteY4" fmla="*/ 0 h 317500"/>
              <a:gd name="connsiteX0" fmla="*/ 0 w 862542"/>
              <a:gd name="connsiteY0" fmla="*/ 0 h 317500"/>
              <a:gd name="connsiteX1" fmla="*/ 862542 w 862542"/>
              <a:gd name="connsiteY1" fmla="*/ 0 h 317500"/>
              <a:gd name="connsiteX2" fmla="*/ 497417 w 862542"/>
              <a:gd name="connsiteY2" fmla="*/ 317500 h 317500"/>
              <a:gd name="connsiteX3" fmla="*/ 5292 w 862542"/>
              <a:gd name="connsiteY3" fmla="*/ 317500 h 317500"/>
              <a:gd name="connsiteX4" fmla="*/ 0 w 862542"/>
              <a:gd name="connsiteY4" fmla="*/ 0 h 317500"/>
              <a:gd name="connsiteX0" fmla="*/ 735542 w 1598084"/>
              <a:gd name="connsiteY0" fmla="*/ 0 h 322792"/>
              <a:gd name="connsiteX1" fmla="*/ 1598084 w 1598084"/>
              <a:gd name="connsiteY1" fmla="*/ 0 h 322792"/>
              <a:gd name="connsiteX2" fmla="*/ 1232959 w 1598084"/>
              <a:gd name="connsiteY2" fmla="*/ 317500 h 322792"/>
              <a:gd name="connsiteX3" fmla="*/ 0 w 1598084"/>
              <a:gd name="connsiteY3" fmla="*/ 322792 h 322792"/>
              <a:gd name="connsiteX4" fmla="*/ 735542 w 1598084"/>
              <a:gd name="connsiteY4" fmla="*/ 0 h 322792"/>
              <a:gd name="connsiteX0" fmla="*/ 5292 w 1598084"/>
              <a:gd name="connsiteY0" fmla="*/ 0 h 328083"/>
              <a:gd name="connsiteX1" fmla="*/ 1598084 w 1598084"/>
              <a:gd name="connsiteY1" fmla="*/ 5291 h 328083"/>
              <a:gd name="connsiteX2" fmla="*/ 1232959 w 1598084"/>
              <a:gd name="connsiteY2" fmla="*/ 322791 h 328083"/>
              <a:gd name="connsiteX3" fmla="*/ 0 w 1598084"/>
              <a:gd name="connsiteY3" fmla="*/ 328083 h 328083"/>
              <a:gd name="connsiteX4" fmla="*/ 5292 w 1598084"/>
              <a:gd name="connsiteY4" fmla="*/ 0 h 328083"/>
              <a:gd name="connsiteX0" fmla="*/ 0 w 1603376"/>
              <a:gd name="connsiteY0" fmla="*/ 10584 h 322792"/>
              <a:gd name="connsiteX1" fmla="*/ 1603376 w 1603376"/>
              <a:gd name="connsiteY1" fmla="*/ 0 h 322792"/>
              <a:gd name="connsiteX2" fmla="*/ 1238251 w 1603376"/>
              <a:gd name="connsiteY2" fmla="*/ 317500 h 322792"/>
              <a:gd name="connsiteX3" fmla="*/ 5292 w 1603376"/>
              <a:gd name="connsiteY3" fmla="*/ 322792 h 322792"/>
              <a:gd name="connsiteX4" fmla="*/ 0 w 1603376"/>
              <a:gd name="connsiteY4" fmla="*/ 10584 h 322792"/>
              <a:gd name="connsiteX0" fmla="*/ 211666 w 1598084"/>
              <a:gd name="connsiteY0" fmla="*/ 0 h 428625"/>
              <a:gd name="connsiteX1" fmla="*/ 1598084 w 1598084"/>
              <a:gd name="connsiteY1" fmla="*/ 105833 h 428625"/>
              <a:gd name="connsiteX2" fmla="*/ 1232959 w 1598084"/>
              <a:gd name="connsiteY2" fmla="*/ 423333 h 428625"/>
              <a:gd name="connsiteX3" fmla="*/ 0 w 1598084"/>
              <a:gd name="connsiteY3" fmla="*/ 428625 h 428625"/>
              <a:gd name="connsiteX4" fmla="*/ 211666 w 1598084"/>
              <a:gd name="connsiteY4" fmla="*/ 0 h 428625"/>
              <a:gd name="connsiteX0" fmla="*/ 10583 w 1598084"/>
              <a:gd name="connsiteY0" fmla="*/ 5292 h 322792"/>
              <a:gd name="connsiteX1" fmla="*/ 1598084 w 1598084"/>
              <a:gd name="connsiteY1" fmla="*/ 0 h 322792"/>
              <a:gd name="connsiteX2" fmla="*/ 1232959 w 1598084"/>
              <a:gd name="connsiteY2" fmla="*/ 317500 h 322792"/>
              <a:gd name="connsiteX3" fmla="*/ 0 w 1598084"/>
              <a:gd name="connsiteY3" fmla="*/ 322792 h 322792"/>
              <a:gd name="connsiteX4" fmla="*/ 10583 w 1598084"/>
              <a:gd name="connsiteY4" fmla="*/ 5292 h 322792"/>
              <a:gd name="connsiteX0" fmla="*/ 0 w 1603376"/>
              <a:gd name="connsiteY0" fmla="*/ 0 h 328083"/>
              <a:gd name="connsiteX1" fmla="*/ 1603376 w 1603376"/>
              <a:gd name="connsiteY1" fmla="*/ 5291 h 328083"/>
              <a:gd name="connsiteX2" fmla="*/ 1238251 w 1603376"/>
              <a:gd name="connsiteY2" fmla="*/ 322791 h 328083"/>
              <a:gd name="connsiteX3" fmla="*/ 5292 w 1603376"/>
              <a:gd name="connsiteY3" fmla="*/ 328083 h 328083"/>
              <a:gd name="connsiteX4" fmla="*/ 0 w 1603376"/>
              <a:gd name="connsiteY4" fmla="*/ 0 h 328083"/>
              <a:gd name="connsiteX0" fmla="*/ 10583 w 1598084"/>
              <a:gd name="connsiteY0" fmla="*/ 10584 h 322792"/>
              <a:gd name="connsiteX1" fmla="*/ 1598084 w 1598084"/>
              <a:gd name="connsiteY1" fmla="*/ 0 h 322792"/>
              <a:gd name="connsiteX2" fmla="*/ 1232959 w 1598084"/>
              <a:gd name="connsiteY2" fmla="*/ 317500 h 322792"/>
              <a:gd name="connsiteX3" fmla="*/ 0 w 1598084"/>
              <a:gd name="connsiteY3" fmla="*/ 322792 h 322792"/>
              <a:gd name="connsiteX4" fmla="*/ 10583 w 1598084"/>
              <a:gd name="connsiteY4" fmla="*/ 10584 h 322792"/>
              <a:gd name="connsiteX0" fmla="*/ 0 w 1601968"/>
              <a:gd name="connsiteY0" fmla="*/ 1059 h 322792"/>
              <a:gd name="connsiteX1" fmla="*/ 1601968 w 1601968"/>
              <a:gd name="connsiteY1" fmla="*/ 0 h 322792"/>
              <a:gd name="connsiteX2" fmla="*/ 1236843 w 1601968"/>
              <a:gd name="connsiteY2" fmla="*/ 317500 h 322792"/>
              <a:gd name="connsiteX3" fmla="*/ 3884 w 1601968"/>
              <a:gd name="connsiteY3" fmla="*/ 322792 h 322792"/>
              <a:gd name="connsiteX4" fmla="*/ 0 w 1601968"/>
              <a:gd name="connsiteY4" fmla="*/ 1059 h 3227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1968" h="322792">
                <a:moveTo>
                  <a:pt x="0" y="1059"/>
                </a:moveTo>
                <a:lnTo>
                  <a:pt x="1601968" y="0"/>
                </a:lnTo>
                <a:lnTo>
                  <a:pt x="1236843" y="317500"/>
                </a:lnTo>
                <a:lnTo>
                  <a:pt x="3884" y="322792"/>
                </a:lnTo>
                <a:cubicBezTo>
                  <a:pt x="2589" y="215548"/>
                  <a:pt x="1295" y="108303"/>
                  <a:pt x="0" y="1059"/>
                </a:cubicBezTo>
                <a:close/>
              </a:path>
            </a:pathLst>
          </a:custGeom>
          <a:solidFill>
            <a:srgbClr val="83006E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b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kern="0" dirty="0">
                <a:solidFill>
                  <a:schemeClr val="tx1"/>
                </a:solidFill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rPr>
              <a:t>P</a:t>
            </a:r>
            <a:r>
              <a:rPr lang="en-US" sz="1800" kern="0" dirty="0">
                <a:solidFill>
                  <a:schemeClr val="bg1"/>
                </a:solidFill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rPr>
              <a:t>romote</a:t>
            </a:r>
          </a:p>
        </p:txBody>
      </p:sp>
      <p:sp>
        <p:nvSpPr>
          <p:cNvPr id="23" name="Freeform 22"/>
          <p:cNvSpPr/>
          <p:nvPr/>
        </p:nvSpPr>
        <p:spPr>
          <a:xfrm>
            <a:off x="3362325" y="3407290"/>
            <a:ext cx="2262188" cy="311944"/>
          </a:xfrm>
          <a:custGeom>
            <a:avLst/>
            <a:gdLst>
              <a:gd name="connsiteX0" fmla="*/ 0 w 862542"/>
              <a:gd name="connsiteY0" fmla="*/ 0 h 322791"/>
              <a:gd name="connsiteX1" fmla="*/ 862542 w 862542"/>
              <a:gd name="connsiteY1" fmla="*/ 21166 h 322791"/>
              <a:gd name="connsiteX2" fmla="*/ 714375 w 862542"/>
              <a:gd name="connsiteY2" fmla="*/ 322791 h 322791"/>
              <a:gd name="connsiteX3" fmla="*/ 206375 w 862542"/>
              <a:gd name="connsiteY3" fmla="*/ 317500 h 322791"/>
              <a:gd name="connsiteX4" fmla="*/ 0 w 862542"/>
              <a:gd name="connsiteY4" fmla="*/ 0 h 322791"/>
              <a:gd name="connsiteX0" fmla="*/ 0 w 862542"/>
              <a:gd name="connsiteY0" fmla="*/ 0 h 322791"/>
              <a:gd name="connsiteX1" fmla="*/ 862542 w 862542"/>
              <a:gd name="connsiteY1" fmla="*/ 21166 h 322791"/>
              <a:gd name="connsiteX2" fmla="*/ 714375 w 862542"/>
              <a:gd name="connsiteY2" fmla="*/ 322791 h 322791"/>
              <a:gd name="connsiteX3" fmla="*/ 5292 w 862542"/>
              <a:gd name="connsiteY3" fmla="*/ 317500 h 322791"/>
              <a:gd name="connsiteX4" fmla="*/ 0 w 862542"/>
              <a:gd name="connsiteY4" fmla="*/ 0 h 322791"/>
              <a:gd name="connsiteX0" fmla="*/ 0 w 873125"/>
              <a:gd name="connsiteY0" fmla="*/ 0 h 317500"/>
              <a:gd name="connsiteX1" fmla="*/ 862542 w 873125"/>
              <a:gd name="connsiteY1" fmla="*/ 21166 h 317500"/>
              <a:gd name="connsiteX2" fmla="*/ 873125 w 873125"/>
              <a:gd name="connsiteY2" fmla="*/ 317500 h 317500"/>
              <a:gd name="connsiteX3" fmla="*/ 5292 w 873125"/>
              <a:gd name="connsiteY3" fmla="*/ 317500 h 317500"/>
              <a:gd name="connsiteX4" fmla="*/ 0 w 873125"/>
              <a:gd name="connsiteY4" fmla="*/ 0 h 317500"/>
              <a:gd name="connsiteX0" fmla="*/ 0 w 873125"/>
              <a:gd name="connsiteY0" fmla="*/ 0 h 317500"/>
              <a:gd name="connsiteX1" fmla="*/ 862542 w 873125"/>
              <a:gd name="connsiteY1" fmla="*/ 0 h 317500"/>
              <a:gd name="connsiteX2" fmla="*/ 873125 w 873125"/>
              <a:gd name="connsiteY2" fmla="*/ 317500 h 317500"/>
              <a:gd name="connsiteX3" fmla="*/ 5292 w 873125"/>
              <a:gd name="connsiteY3" fmla="*/ 317500 h 317500"/>
              <a:gd name="connsiteX4" fmla="*/ 0 w 873125"/>
              <a:gd name="connsiteY4" fmla="*/ 0 h 317500"/>
              <a:gd name="connsiteX0" fmla="*/ 0 w 862542"/>
              <a:gd name="connsiteY0" fmla="*/ 0 h 317500"/>
              <a:gd name="connsiteX1" fmla="*/ 862542 w 862542"/>
              <a:gd name="connsiteY1" fmla="*/ 0 h 317500"/>
              <a:gd name="connsiteX2" fmla="*/ 693209 w 862542"/>
              <a:gd name="connsiteY2" fmla="*/ 317500 h 317500"/>
              <a:gd name="connsiteX3" fmla="*/ 5292 w 862542"/>
              <a:gd name="connsiteY3" fmla="*/ 317500 h 317500"/>
              <a:gd name="connsiteX4" fmla="*/ 0 w 862542"/>
              <a:gd name="connsiteY4" fmla="*/ 0 h 317500"/>
              <a:gd name="connsiteX0" fmla="*/ 0 w 862542"/>
              <a:gd name="connsiteY0" fmla="*/ 0 h 317500"/>
              <a:gd name="connsiteX1" fmla="*/ 862542 w 862542"/>
              <a:gd name="connsiteY1" fmla="*/ 0 h 317500"/>
              <a:gd name="connsiteX2" fmla="*/ 756708 w 862542"/>
              <a:gd name="connsiteY2" fmla="*/ 190500 h 317500"/>
              <a:gd name="connsiteX3" fmla="*/ 693209 w 862542"/>
              <a:gd name="connsiteY3" fmla="*/ 317500 h 317500"/>
              <a:gd name="connsiteX4" fmla="*/ 5292 w 862542"/>
              <a:gd name="connsiteY4" fmla="*/ 317500 h 317500"/>
              <a:gd name="connsiteX5" fmla="*/ 0 w 862542"/>
              <a:gd name="connsiteY5" fmla="*/ 0 h 317500"/>
              <a:gd name="connsiteX0" fmla="*/ 0 w 867833"/>
              <a:gd name="connsiteY0" fmla="*/ 0 h 317500"/>
              <a:gd name="connsiteX1" fmla="*/ 862542 w 867833"/>
              <a:gd name="connsiteY1" fmla="*/ 0 h 317500"/>
              <a:gd name="connsiteX2" fmla="*/ 867833 w 867833"/>
              <a:gd name="connsiteY2" fmla="*/ 185208 h 317500"/>
              <a:gd name="connsiteX3" fmla="*/ 693209 w 867833"/>
              <a:gd name="connsiteY3" fmla="*/ 317500 h 317500"/>
              <a:gd name="connsiteX4" fmla="*/ 5292 w 867833"/>
              <a:gd name="connsiteY4" fmla="*/ 317500 h 317500"/>
              <a:gd name="connsiteX5" fmla="*/ 0 w 867833"/>
              <a:gd name="connsiteY5" fmla="*/ 0 h 317500"/>
              <a:gd name="connsiteX0" fmla="*/ 0 w 862542"/>
              <a:gd name="connsiteY0" fmla="*/ 0 h 317500"/>
              <a:gd name="connsiteX1" fmla="*/ 862542 w 862542"/>
              <a:gd name="connsiteY1" fmla="*/ 0 h 317500"/>
              <a:gd name="connsiteX2" fmla="*/ 693209 w 862542"/>
              <a:gd name="connsiteY2" fmla="*/ 317500 h 317500"/>
              <a:gd name="connsiteX3" fmla="*/ 5292 w 862542"/>
              <a:gd name="connsiteY3" fmla="*/ 317500 h 317500"/>
              <a:gd name="connsiteX4" fmla="*/ 0 w 862542"/>
              <a:gd name="connsiteY4" fmla="*/ 0 h 317500"/>
              <a:gd name="connsiteX0" fmla="*/ 0 w 862542"/>
              <a:gd name="connsiteY0" fmla="*/ 0 h 317500"/>
              <a:gd name="connsiteX1" fmla="*/ 862542 w 862542"/>
              <a:gd name="connsiteY1" fmla="*/ 0 h 317500"/>
              <a:gd name="connsiteX2" fmla="*/ 497417 w 862542"/>
              <a:gd name="connsiteY2" fmla="*/ 317500 h 317500"/>
              <a:gd name="connsiteX3" fmla="*/ 5292 w 862542"/>
              <a:gd name="connsiteY3" fmla="*/ 317500 h 317500"/>
              <a:gd name="connsiteX4" fmla="*/ 0 w 862542"/>
              <a:gd name="connsiteY4" fmla="*/ 0 h 317500"/>
              <a:gd name="connsiteX0" fmla="*/ 735542 w 1598084"/>
              <a:gd name="connsiteY0" fmla="*/ 0 h 322792"/>
              <a:gd name="connsiteX1" fmla="*/ 1598084 w 1598084"/>
              <a:gd name="connsiteY1" fmla="*/ 0 h 322792"/>
              <a:gd name="connsiteX2" fmla="*/ 1232959 w 1598084"/>
              <a:gd name="connsiteY2" fmla="*/ 317500 h 322792"/>
              <a:gd name="connsiteX3" fmla="*/ 0 w 1598084"/>
              <a:gd name="connsiteY3" fmla="*/ 322792 h 322792"/>
              <a:gd name="connsiteX4" fmla="*/ 735542 w 1598084"/>
              <a:gd name="connsiteY4" fmla="*/ 0 h 322792"/>
              <a:gd name="connsiteX0" fmla="*/ 5292 w 1598084"/>
              <a:gd name="connsiteY0" fmla="*/ 0 h 328083"/>
              <a:gd name="connsiteX1" fmla="*/ 1598084 w 1598084"/>
              <a:gd name="connsiteY1" fmla="*/ 5291 h 328083"/>
              <a:gd name="connsiteX2" fmla="*/ 1232959 w 1598084"/>
              <a:gd name="connsiteY2" fmla="*/ 322791 h 328083"/>
              <a:gd name="connsiteX3" fmla="*/ 0 w 1598084"/>
              <a:gd name="connsiteY3" fmla="*/ 328083 h 328083"/>
              <a:gd name="connsiteX4" fmla="*/ 5292 w 1598084"/>
              <a:gd name="connsiteY4" fmla="*/ 0 h 328083"/>
              <a:gd name="connsiteX0" fmla="*/ 0 w 1603376"/>
              <a:gd name="connsiteY0" fmla="*/ 10584 h 322792"/>
              <a:gd name="connsiteX1" fmla="*/ 1603376 w 1603376"/>
              <a:gd name="connsiteY1" fmla="*/ 0 h 322792"/>
              <a:gd name="connsiteX2" fmla="*/ 1238251 w 1603376"/>
              <a:gd name="connsiteY2" fmla="*/ 317500 h 322792"/>
              <a:gd name="connsiteX3" fmla="*/ 5292 w 1603376"/>
              <a:gd name="connsiteY3" fmla="*/ 322792 h 322792"/>
              <a:gd name="connsiteX4" fmla="*/ 0 w 1603376"/>
              <a:gd name="connsiteY4" fmla="*/ 10584 h 322792"/>
              <a:gd name="connsiteX0" fmla="*/ 211666 w 1598084"/>
              <a:gd name="connsiteY0" fmla="*/ 0 h 428625"/>
              <a:gd name="connsiteX1" fmla="*/ 1598084 w 1598084"/>
              <a:gd name="connsiteY1" fmla="*/ 105833 h 428625"/>
              <a:gd name="connsiteX2" fmla="*/ 1232959 w 1598084"/>
              <a:gd name="connsiteY2" fmla="*/ 423333 h 428625"/>
              <a:gd name="connsiteX3" fmla="*/ 0 w 1598084"/>
              <a:gd name="connsiteY3" fmla="*/ 428625 h 428625"/>
              <a:gd name="connsiteX4" fmla="*/ 211666 w 1598084"/>
              <a:gd name="connsiteY4" fmla="*/ 0 h 428625"/>
              <a:gd name="connsiteX0" fmla="*/ 10583 w 1598084"/>
              <a:gd name="connsiteY0" fmla="*/ 5292 h 322792"/>
              <a:gd name="connsiteX1" fmla="*/ 1598084 w 1598084"/>
              <a:gd name="connsiteY1" fmla="*/ 0 h 322792"/>
              <a:gd name="connsiteX2" fmla="*/ 1232959 w 1598084"/>
              <a:gd name="connsiteY2" fmla="*/ 317500 h 322792"/>
              <a:gd name="connsiteX3" fmla="*/ 0 w 1598084"/>
              <a:gd name="connsiteY3" fmla="*/ 322792 h 322792"/>
              <a:gd name="connsiteX4" fmla="*/ 10583 w 1598084"/>
              <a:gd name="connsiteY4" fmla="*/ 5292 h 322792"/>
              <a:gd name="connsiteX0" fmla="*/ 0 w 1603376"/>
              <a:gd name="connsiteY0" fmla="*/ 0 h 328083"/>
              <a:gd name="connsiteX1" fmla="*/ 1603376 w 1603376"/>
              <a:gd name="connsiteY1" fmla="*/ 5291 h 328083"/>
              <a:gd name="connsiteX2" fmla="*/ 1238251 w 1603376"/>
              <a:gd name="connsiteY2" fmla="*/ 322791 h 328083"/>
              <a:gd name="connsiteX3" fmla="*/ 5292 w 1603376"/>
              <a:gd name="connsiteY3" fmla="*/ 328083 h 328083"/>
              <a:gd name="connsiteX4" fmla="*/ 0 w 1603376"/>
              <a:gd name="connsiteY4" fmla="*/ 0 h 328083"/>
              <a:gd name="connsiteX0" fmla="*/ 10583 w 1598084"/>
              <a:gd name="connsiteY0" fmla="*/ 10584 h 322792"/>
              <a:gd name="connsiteX1" fmla="*/ 1598084 w 1598084"/>
              <a:gd name="connsiteY1" fmla="*/ 0 h 322792"/>
              <a:gd name="connsiteX2" fmla="*/ 1232959 w 1598084"/>
              <a:gd name="connsiteY2" fmla="*/ 317500 h 322792"/>
              <a:gd name="connsiteX3" fmla="*/ 0 w 1598084"/>
              <a:gd name="connsiteY3" fmla="*/ 322792 h 322792"/>
              <a:gd name="connsiteX4" fmla="*/ 10583 w 1598084"/>
              <a:gd name="connsiteY4" fmla="*/ 10584 h 322792"/>
              <a:gd name="connsiteX0" fmla="*/ 0 w 1601968"/>
              <a:gd name="connsiteY0" fmla="*/ 1059 h 322792"/>
              <a:gd name="connsiteX1" fmla="*/ 1601968 w 1601968"/>
              <a:gd name="connsiteY1" fmla="*/ 0 h 322792"/>
              <a:gd name="connsiteX2" fmla="*/ 1236843 w 1601968"/>
              <a:gd name="connsiteY2" fmla="*/ 317500 h 322792"/>
              <a:gd name="connsiteX3" fmla="*/ 3884 w 1601968"/>
              <a:gd name="connsiteY3" fmla="*/ 322792 h 322792"/>
              <a:gd name="connsiteX4" fmla="*/ 0 w 1601968"/>
              <a:gd name="connsiteY4" fmla="*/ 1059 h 3227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1968" h="322792">
                <a:moveTo>
                  <a:pt x="0" y="1059"/>
                </a:moveTo>
                <a:lnTo>
                  <a:pt x="1601968" y="0"/>
                </a:lnTo>
                <a:lnTo>
                  <a:pt x="1236843" y="317500"/>
                </a:lnTo>
                <a:lnTo>
                  <a:pt x="3884" y="322792"/>
                </a:lnTo>
                <a:cubicBezTo>
                  <a:pt x="2589" y="215548"/>
                  <a:pt x="1295" y="108303"/>
                  <a:pt x="0" y="1059"/>
                </a:cubicBezTo>
                <a:close/>
              </a:path>
            </a:pathLst>
          </a:custGeom>
          <a:solidFill>
            <a:srgbClr val="83006E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b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kern="0" dirty="0">
                <a:solidFill>
                  <a:schemeClr val="tx1"/>
                </a:solidFill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rPr>
              <a:t>E</a:t>
            </a:r>
            <a:r>
              <a:rPr lang="en-US" sz="1800" kern="0" dirty="0">
                <a:solidFill>
                  <a:schemeClr val="bg1"/>
                </a:solidFill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rPr>
              <a:t>ngage</a:t>
            </a:r>
          </a:p>
        </p:txBody>
      </p:sp>
      <p:sp>
        <p:nvSpPr>
          <p:cNvPr id="24" name="Rectangle 23"/>
          <p:cNvSpPr/>
          <p:nvPr userDrawn="1"/>
        </p:nvSpPr>
        <p:spPr>
          <a:xfrm>
            <a:off x="3367088" y="1684735"/>
            <a:ext cx="5041900" cy="613172"/>
          </a:xfrm>
          <a:prstGeom prst="rect">
            <a:avLst/>
          </a:prstGeom>
          <a:solidFill>
            <a:srgbClr val="C4C5CA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latin typeface="Asap" panose="02000506040000020004" pitchFamily="2" charset="0"/>
              <a:cs typeface="Arial" panose="020B0604020202020204" pitchFamily="34" charset="0"/>
              <a:sym typeface="Asap" panose="02000506040000020004" pitchFamily="2" charset="0"/>
            </a:endParaRPr>
          </a:p>
        </p:txBody>
      </p:sp>
      <p:sp>
        <p:nvSpPr>
          <p:cNvPr id="25" name="Freeform 24"/>
          <p:cNvSpPr/>
          <p:nvPr/>
        </p:nvSpPr>
        <p:spPr>
          <a:xfrm>
            <a:off x="3359150" y="1683544"/>
            <a:ext cx="2262188" cy="311944"/>
          </a:xfrm>
          <a:custGeom>
            <a:avLst/>
            <a:gdLst>
              <a:gd name="connsiteX0" fmla="*/ 0 w 862542"/>
              <a:gd name="connsiteY0" fmla="*/ 0 h 322791"/>
              <a:gd name="connsiteX1" fmla="*/ 862542 w 862542"/>
              <a:gd name="connsiteY1" fmla="*/ 21166 h 322791"/>
              <a:gd name="connsiteX2" fmla="*/ 714375 w 862542"/>
              <a:gd name="connsiteY2" fmla="*/ 322791 h 322791"/>
              <a:gd name="connsiteX3" fmla="*/ 206375 w 862542"/>
              <a:gd name="connsiteY3" fmla="*/ 317500 h 322791"/>
              <a:gd name="connsiteX4" fmla="*/ 0 w 862542"/>
              <a:gd name="connsiteY4" fmla="*/ 0 h 322791"/>
              <a:gd name="connsiteX0" fmla="*/ 0 w 862542"/>
              <a:gd name="connsiteY0" fmla="*/ 0 h 322791"/>
              <a:gd name="connsiteX1" fmla="*/ 862542 w 862542"/>
              <a:gd name="connsiteY1" fmla="*/ 21166 h 322791"/>
              <a:gd name="connsiteX2" fmla="*/ 714375 w 862542"/>
              <a:gd name="connsiteY2" fmla="*/ 322791 h 322791"/>
              <a:gd name="connsiteX3" fmla="*/ 5292 w 862542"/>
              <a:gd name="connsiteY3" fmla="*/ 317500 h 322791"/>
              <a:gd name="connsiteX4" fmla="*/ 0 w 862542"/>
              <a:gd name="connsiteY4" fmla="*/ 0 h 322791"/>
              <a:gd name="connsiteX0" fmla="*/ 0 w 873125"/>
              <a:gd name="connsiteY0" fmla="*/ 0 h 317500"/>
              <a:gd name="connsiteX1" fmla="*/ 862542 w 873125"/>
              <a:gd name="connsiteY1" fmla="*/ 21166 h 317500"/>
              <a:gd name="connsiteX2" fmla="*/ 873125 w 873125"/>
              <a:gd name="connsiteY2" fmla="*/ 317500 h 317500"/>
              <a:gd name="connsiteX3" fmla="*/ 5292 w 873125"/>
              <a:gd name="connsiteY3" fmla="*/ 317500 h 317500"/>
              <a:gd name="connsiteX4" fmla="*/ 0 w 873125"/>
              <a:gd name="connsiteY4" fmla="*/ 0 h 317500"/>
              <a:gd name="connsiteX0" fmla="*/ 0 w 873125"/>
              <a:gd name="connsiteY0" fmla="*/ 0 h 317500"/>
              <a:gd name="connsiteX1" fmla="*/ 862542 w 873125"/>
              <a:gd name="connsiteY1" fmla="*/ 0 h 317500"/>
              <a:gd name="connsiteX2" fmla="*/ 873125 w 873125"/>
              <a:gd name="connsiteY2" fmla="*/ 317500 h 317500"/>
              <a:gd name="connsiteX3" fmla="*/ 5292 w 873125"/>
              <a:gd name="connsiteY3" fmla="*/ 317500 h 317500"/>
              <a:gd name="connsiteX4" fmla="*/ 0 w 873125"/>
              <a:gd name="connsiteY4" fmla="*/ 0 h 317500"/>
              <a:gd name="connsiteX0" fmla="*/ 0 w 862542"/>
              <a:gd name="connsiteY0" fmla="*/ 0 h 317500"/>
              <a:gd name="connsiteX1" fmla="*/ 862542 w 862542"/>
              <a:gd name="connsiteY1" fmla="*/ 0 h 317500"/>
              <a:gd name="connsiteX2" fmla="*/ 693209 w 862542"/>
              <a:gd name="connsiteY2" fmla="*/ 317500 h 317500"/>
              <a:gd name="connsiteX3" fmla="*/ 5292 w 862542"/>
              <a:gd name="connsiteY3" fmla="*/ 317500 h 317500"/>
              <a:gd name="connsiteX4" fmla="*/ 0 w 862542"/>
              <a:gd name="connsiteY4" fmla="*/ 0 h 317500"/>
              <a:gd name="connsiteX0" fmla="*/ 0 w 862542"/>
              <a:gd name="connsiteY0" fmla="*/ 0 h 317500"/>
              <a:gd name="connsiteX1" fmla="*/ 862542 w 862542"/>
              <a:gd name="connsiteY1" fmla="*/ 0 h 317500"/>
              <a:gd name="connsiteX2" fmla="*/ 756708 w 862542"/>
              <a:gd name="connsiteY2" fmla="*/ 190500 h 317500"/>
              <a:gd name="connsiteX3" fmla="*/ 693209 w 862542"/>
              <a:gd name="connsiteY3" fmla="*/ 317500 h 317500"/>
              <a:gd name="connsiteX4" fmla="*/ 5292 w 862542"/>
              <a:gd name="connsiteY4" fmla="*/ 317500 h 317500"/>
              <a:gd name="connsiteX5" fmla="*/ 0 w 862542"/>
              <a:gd name="connsiteY5" fmla="*/ 0 h 317500"/>
              <a:gd name="connsiteX0" fmla="*/ 0 w 867833"/>
              <a:gd name="connsiteY0" fmla="*/ 0 h 317500"/>
              <a:gd name="connsiteX1" fmla="*/ 862542 w 867833"/>
              <a:gd name="connsiteY1" fmla="*/ 0 h 317500"/>
              <a:gd name="connsiteX2" fmla="*/ 867833 w 867833"/>
              <a:gd name="connsiteY2" fmla="*/ 185208 h 317500"/>
              <a:gd name="connsiteX3" fmla="*/ 693209 w 867833"/>
              <a:gd name="connsiteY3" fmla="*/ 317500 h 317500"/>
              <a:gd name="connsiteX4" fmla="*/ 5292 w 867833"/>
              <a:gd name="connsiteY4" fmla="*/ 317500 h 317500"/>
              <a:gd name="connsiteX5" fmla="*/ 0 w 867833"/>
              <a:gd name="connsiteY5" fmla="*/ 0 h 317500"/>
              <a:gd name="connsiteX0" fmla="*/ 0 w 862542"/>
              <a:gd name="connsiteY0" fmla="*/ 0 h 317500"/>
              <a:gd name="connsiteX1" fmla="*/ 862542 w 862542"/>
              <a:gd name="connsiteY1" fmla="*/ 0 h 317500"/>
              <a:gd name="connsiteX2" fmla="*/ 693209 w 862542"/>
              <a:gd name="connsiteY2" fmla="*/ 317500 h 317500"/>
              <a:gd name="connsiteX3" fmla="*/ 5292 w 862542"/>
              <a:gd name="connsiteY3" fmla="*/ 317500 h 317500"/>
              <a:gd name="connsiteX4" fmla="*/ 0 w 862542"/>
              <a:gd name="connsiteY4" fmla="*/ 0 h 317500"/>
              <a:gd name="connsiteX0" fmla="*/ 0 w 862542"/>
              <a:gd name="connsiteY0" fmla="*/ 0 h 317500"/>
              <a:gd name="connsiteX1" fmla="*/ 862542 w 862542"/>
              <a:gd name="connsiteY1" fmla="*/ 0 h 317500"/>
              <a:gd name="connsiteX2" fmla="*/ 497417 w 862542"/>
              <a:gd name="connsiteY2" fmla="*/ 317500 h 317500"/>
              <a:gd name="connsiteX3" fmla="*/ 5292 w 862542"/>
              <a:gd name="connsiteY3" fmla="*/ 317500 h 317500"/>
              <a:gd name="connsiteX4" fmla="*/ 0 w 862542"/>
              <a:gd name="connsiteY4" fmla="*/ 0 h 317500"/>
              <a:gd name="connsiteX0" fmla="*/ 735542 w 1598084"/>
              <a:gd name="connsiteY0" fmla="*/ 0 h 322792"/>
              <a:gd name="connsiteX1" fmla="*/ 1598084 w 1598084"/>
              <a:gd name="connsiteY1" fmla="*/ 0 h 322792"/>
              <a:gd name="connsiteX2" fmla="*/ 1232959 w 1598084"/>
              <a:gd name="connsiteY2" fmla="*/ 317500 h 322792"/>
              <a:gd name="connsiteX3" fmla="*/ 0 w 1598084"/>
              <a:gd name="connsiteY3" fmla="*/ 322792 h 322792"/>
              <a:gd name="connsiteX4" fmla="*/ 735542 w 1598084"/>
              <a:gd name="connsiteY4" fmla="*/ 0 h 322792"/>
              <a:gd name="connsiteX0" fmla="*/ 5292 w 1598084"/>
              <a:gd name="connsiteY0" fmla="*/ 0 h 328083"/>
              <a:gd name="connsiteX1" fmla="*/ 1598084 w 1598084"/>
              <a:gd name="connsiteY1" fmla="*/ 5291 h 328083"/>
              <a:gd name="connsiteX2" fmla="*/ 1232959 w 1598084"/>
              <a:gd name="connsiteY2" fmla="*/ 322791 h 328083"/>
              <a:gd name="connsiteX3" fmla="*/ 0 w 1598084"/>
              <a:gd name="connsiteY3" fmla="*/ 328083 h 328083"/>
              <a:gd name="connsiteX4" fmla="*/ 5292 w 1598084"/>
              <a:gd name="connsiteY4" fmla="*/ 0 h 328083"/>
              <a:gd name="connsiteX0" fmla="*/ 0 w 1603376"/>
              <a:gd name="connsiteY0" fmla="*/ 10584 h 322792"/>
              <a:gd name="connsiteX1" fmla="*/ 1603376 w 1603376"/>
              <a:gd name="connsiteY1" fmla="*/ 0 h 322792"/>
              <a:gd name="connsiteX2" fmla="*/ 1238251 w 1603376"/>
              <a:gd name="connsiteY2" fmla="*/ 317500 h 322792"/>
              <a:gd name="connsiteX3" fmla="*/ 5292 w 1603376"/>
              <a:gd name="connsiteY3" fmla="*/ 322792 h 322792"/>
              <a:gd name="connsiteX4" fmla="*/ 0 w 1603376"/>
              <a:gd name="connsiteY4" fmla="*/ 10584 h 322792"/>
              <a:gd name="connsiteX0" fmla="*/ 211666 w 1598084"/>
              <a:gd name="connsiteY0" fmla="*/ 0 h 428625"/>
              <a:gd name="connsiteX1" fmla="*/ 1598084 w 1598084"/>
              <a:gd name="connsiteY1" fmla="*/ 105833 h 428625"/>
              <a:gd name="connsiteX2" fmla="*/ 1232959 w 1598084"/>
              <a:gd name="connsiteY2" fmla="*/ 423333 h 428625"/>
              <a:gd name="connsiteX3" fmla="*/ 0 w 1598084"/>
              <a:gd name="connsiteY3" fmla="*/ 428625 h 428625"/>
              <a:gd name="connsiteX4" fmla="*/ 211666 w 1598084"/>
              <a:gd name="connsiteY4" fmla="*/ 0 h 428625"/>
              <a:gd name="connsiteX0" fmla="*/ 10583 w 1598084"/>
              <a:gd name="connsiteY0" fmla="*/ 5292 h 322792"/>
              <a:gd name="connsiteX1" fmla="*/ 1598084 w 1598084"/>
              <a:gd name="connsiteY1" fmla="*/ 0 h 322792"/>
              <a:gd name="connsiteX2" fmla="*/ 1232959 w 1598084"/>
              <a:gd name="connsiteY2" fmla="*/ 317500 h 322792"/>
              <a:gd name="connsiteX3" fmla="*/ 0 w 1598084"/>
              <a:gd name="connsiteY3" fmla="*/ 322792 h 322792"/>
              <a:gd name="connsiteX4" fmla="*/ 10583 w 1598084"/>
              <a:gd name="connsiteY4" fmla="*/ 5292 h 322792"/>
              <a:gd name="connsiteX0" fmla="*/ 0 w 1603376"/>
              <a:gd name="connsiteY0" fmla="*/ 0 h 328083"/>
              <a:gd name="connsiteX1" fmla="*/ 1603376 w 1603376"/>
              <a:gd name="connsiteY1" fmla="*/ 5291 h 328083"/>
              <a:gd name="connsiteX2" fmla="*/ 1238251 w 1603376"/>
              <a:gd name="connsiteY2" fmla="*/ 322791 h 328083"/>
              <a:gd name="connsiteX3" fmla="*/ 5292 w 1603376"/>
              <a:gd name="connsiteY3" fmla="*/ 328083 h 328083"/>
              <a:gd name="connsiteX4" fmla="*/ 0 w 1603376"/>
              <a:gd name="connsiteY4" fmla="*/ 0 h 328083"/>
              <a:gd name="connsiteX0" fmla="*/ 10583 w 1598084"/>
              <a:gd name="connsiteY0" fmla="*/ 10584 h 322792"/>
              <a:gd name="connsiteX1" fmla="*/ 1598084 w 1598084"/>
              <a:gd name="connsiteY1" fmla="*/ 0 h 322792"/>
              <a:gd name="connsiteX2" fmla="*/ 1232959 w 1598084"/>
              <a:gd name="connsiteY2" fmla="*/ 317500 h 322792"/>
              <a:gd name="connsiteX3" fmla="*/ 0 w 1598084"/>
              <a:gd name="connsiteY3" fmla="*/ 322792 h 322792"/>
              <a:gd name="connsiteX4" fmla="*/ 10583 w 1598084"/>
              <a:gd name="connsiteY4" fmla="*/ 10584 h 322792"/>
              <a:gd name="connsiteX0" fmla="*/ 0 w 1601968"/>
              <a:gd name="connsiteY0" fmla="*/ 1059 h 322792"/>
              <a:gd name="connsiteX1" fmla="*/ 1601968 w 1601968"/>
              <a:gd name="connsiteY1" fmla="*/ 0 h 322792"/>
              <a:gd name="connsiteX2" fmla="*/ 1236843 w 1601968"/>
              <a:gd name="connsiteY2" fmla="*/ 317500 h 322792"/>
              <a:gd name="connsiteX3" fmla="*/ 3884 w 1601968"/>
              <a:gd name="connsiteY3" fmla="*/ 322792 h 322792"/>
              <a:gd name="connsiteX4" fmla="*/ 0 w 1601968"/>
              <a:gd name="connsiteY4" fmla="*/ 1059 h 3227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1968" h="322792">
                <a:moveTo>
                  <a:pt x="0" y="1059"/>
                </a:moveTo>
                <a:lnTo>
                  <a:pt x="1601968" y="0"/>
                </a:lnTo>
                <a:lnTo>
                  <a:pt x="1236843" y="317500"/>
                </a:lnTo>
                <a:lnTo>
                  <a:pt x="3884" y="322792"/>
                </a:lnTo>
                <a:cubicBezTo>
                  <a:pt x="2589" y="215548"/>
                  <a:pt x="1295" y="108303"/>
                  <a:pt x="0" y="1059"/>
                </a:cubicBezTo>
                <a:close/>
              </a:path>
            </a:pathLst>
          </a:custGeom>
          <a:solidFill>
            <a:srgbClr val="83006E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b"/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kern="0" dirty="0">
                <a:solidFill>
                  <a:schemeClr val="tx1"/>
                </a:solidFill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rPr>
              <a:t>O</a:t>
            </a:r>
            <a:r>
              <a:rPr lang="en-US" sz="1800" kern="0" dirty="0">
                <a:solidFill>
                  <a:schemeClr val="bg2"/>
                </a:solidFill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rPr>
              <a:t>ffer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8410575" y="1682354"/>
            <a:ext cx="179388" cy="615553"/>
          </a:xfrm>
          <a:prstGeom prst="rect">
            <a:avLst/>
          </a:prstGeom>
          <a:solidFill>
            <a:srgbClr val="83006E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latin typeface="Asap" panose="02000506040000020004" pitchFamily="2" charset="0"/>
              <a:cs typeface="Arial" panose="020B0604020202020204" pitchFamily="34" charset="0"/>
              <a:sym typeface="Asap" panose="02000506040000020004" pitchFamily="2" charset="0"/>
            </a:endParaRPr>
          </a:p>
        </p:txBody>
      </p:sp>
      <p:sp>
        <p:nvSpPr>
          <p:cNvPr id="40" name="Content Placeholder 3"/>
          <p:cNvSpPr>
            <a:spLocks noGrp="1"/>
          </p:cNvSpPr>
          <p:nvPr>
            <p:ph sz="half" idx="15"/>
          </p:nvPr>
        </p:nvSpPr>
        <p:spPr>
          <a:xfrm>
            <a:off x="3419178" y="3724976"/>
            <a:ext cx="4933577" cy="2416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aseline="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half" idx="14"/>
          </p:nvPr>
        </p:nvSpPr>
        <p:spPr>
          <a:xfrm>
            <a:off x="3425528" y="2860583"/>
            <a:ext cx="4933577" cy="2416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aseline="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3" name="Content Placeholder 3"/>
          <p:cNvSpPr>
            <a:spLocks noGrp="1"/>
          </p:cNvSpPr>
          <p:nvPr>
            <p:ph sz="half" idx="12"/>
          </p:nvPr>
        </p:nvSpPr>
        <p:spPr>
          <a:xfrm>
            <a:off x="3430010" y="1137398"/>
            <a:ext cx="4933577" cy="2627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aseline="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Content Placeholder 3"/>
          <p:cNvSpPr>
            <a:spLocks noGrp="1"/>
          </p:cNvSpPr>
          <p:nvPr>
            <p:ph sz="half" idx="11"/>
          </p:nvPr>
        </p:nvSpPr>
        <p:spPr>
          <a:xfrm>
            <a:off x="425622" y="782594"/>
            <a:ext cx="1812324" cy="53546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aseline="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7" name="Content Placeholder 3"/>
          <p:cNvSpPr>
            <a:spLocks noGrp="1"/>
          </p:cNvSpPr>
          <p:nvPr>
            <p:ph sz="half" idx="13"/>
          </p:nvPr>
        </p:nvSpPr>
        <p:spPr>
          <a:xfrm>
            <a:off x="3425528" y="2008095"/>
            <a:ext cx="4933577" cy="2416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aseline="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DEE7E0CB-637F-40CF-8FA5-5C88C55324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0"/>
            <a:ext cx="6053070" cy="470079"/>
          </a:xfrm>
          <a:prstGeom prst="rect">
            <a:avLst/>
          </a:prstGeom>
        </p:spPr>
        <p:txBody>
          <a:bodyPr/>
          <a:lstStyle>
            <a:lvl1pPr algn="l">
              <a:defRPr sz="200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76257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0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9" grpId="0" animBg="1"/>
      <p:bldP spid="19" grpId="1" animBg="1"/>
      <p:bldP spid="20" grpId="0" animBg="1"/>
      <p:bldP spid="20" grpId="1" animBg="1"/>
      <p:bldP spid="21" grpId="0" animBg="1"/>
      <p:bldP spid="21" grpId="1" animBg="1"/>
      <p:bldP spid="22" grpId="0" animBg="1"/>
      <p:bldP spid="22" grpId="1" animBg="1"/>
      <p:bldP spid="23" grpId="0" animBg="1"/>
      <p:bldP spid="23" grpId="1" animBg="1"/>
      <p:bldP spid="24" grpId="0" animBg="1"/>
      <p:bldP spid="24" grpId="1" animBg="1"/>
      <p:bldP spid="25" grpId="0" animBg="1"/>
      <p:bldP spid="25" grpId="1" animBg="1"/>
      <p:bldP spid="26" grpId="0" animBg="1"/>
      <p:bldP spid="26" grpId="1" animBg="1"/>
    </p:bldLst>
  </p:timing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ash Text (e.g. Thank yo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5EB530C-0687-491A-B0F7-7B24148B0D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2367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6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774F155-AF59-4274-AF18-1B137A6B466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sap" panose="02000506040000020004" pitchFamily="2" charset="0"/>
              <a:ea typeface="ＭＳ Ｐゴシック" panose="020B0600070205080204" pitchFamily="34" charset="-128"/>
              <a:sym typeface="Asap" panose="02000506040000020004" pitchFamily="2" charset="0"/>
            </a:endParaRPr>
          </a:p>
        </p:txBody>
      </p:sp>
      <p:sp>
        <p:nvSpPr>
          <p:cNvPr id="3" name="Rectangle 1"/>
          <p:cNvSpPr/>
          <p:nvPr userDrawn="1"/>
        </p:nvSpPr>
        <p:spPr>
          <a:xfrm>
            <a:off x="0" y="2185988"/>
            <a:ext cx="7245350" cy="485775"/>
          </a:xfrm>
          <a:custGeom>
            <a:avLst/>
            <a:gdLst>
              <a:gd name="connsiteX0" fmla="*/ 0 w 7244773"/>
              <a:gd name="connsiteY0" fmla="*/ 0 h 646545"/>
              <a:gd name="connsiteX1" fmla="*/ 7244773 w 7244773"/>
              <a:gd name="connsiteY1" fmla="*/ 0 h 646545"/>
              <a:gd name="connsiteX2" fmla="*/ 7244773 w 7244773"/>
              <a:gd name="connsiteY2" fmla="*/ 646545 h 646545"/>
              <a:gd name="connsiteX3" fmla="*/ 0 w 7244773"/>
              <a:gd name="connsiteY3" fmla="*/ 646545 h 646545"/>
              <a:gd name="connsiteX4" fmla="*/ 0 w 7244773"/>
              <a:gd name="connsiteY4" fmla="*/ 0 h 646545"/>
              <a:gd name="connsiteX0" fmla="*/ 0 w 7244773"/>
              <a:gd name="connsiteY0" fmla="*/ 0 h 646545"/>
              <a:gd name="connsiteX1" fmla="*/ 6517410 w 7244773"/>
              <a:gd name="connsiteY1" fmla="*/ 0 h 646545"/>
              <a:gd name="connsiteX2" fmla="*/ 7244773 w 7244773"/>
              <a:gd name="connsiteY2" fmla="*/ 646545 h 646545"/>
              <a:gd name="connsiteX3" fmla="*/ 0 w 7244773"/>
              <a:gd name="connsiteY3" fmla="*/ 646545 h 646545"/>
              <a:gd name="connsiteX4" fmla="*/ 0 w 7244773"/>
              <a:gd name="connsiteY4" fmla="*/ 0 h 6465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44773" h="646545">
                <a:moveTo>
                  <a:pt x="0" y="0"/>
                </a:moveTo>
                <a:lnTo>
                  <a:pt x="6517410" y="0"/>
                </a:lnTo>
                <a:lnTo>
                  <a:pt x="7244773" y="646545"/>
                </a:lnTo>
                <a:lnTo>
                  <a:pt x="0" y="646545"/>
                </a:lnTo>
                <a:lnTo>
                  <a:pt x="0" y="0"/>
                </a:lnTo>
                <a:close/>
              </a:path>
            </a:pathLst>
          </a:custGeom>
          <a:solidFill>
            <a:srgbClr val="105CA0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n-US">
              <a:latin typeface="Asap" panose="02000506040000020004" pitchFamily="2" charset="0"/>
              <a:sym typeface="Asap" panose="02000506040000020004" pitchFamily="2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9144000" cy="51911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sap" panose="02000506040000020004" pitchFamily="2" charset="0"/>
              <a:sym typeface="Asap" panose="02000506040000020004" pitchFamily="2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7570573" y="3943393"/>
            <a:ext cx="1580292" cy="120697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sap" panose="02000506040000020004" pitchFamily="2" charset="0"/>
              <a:sym typeface="Asap" panose="02000506040000020004" pitchFamily="2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7428F9B-56C8-4860-8357-F014FE63B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185988"/>
            <a:ext cx="6053070" cy="470079"/>
          </a:xfrm>
          <a:prstGeom prst="rect">
            <a:avLst/>
          </a:prstGeom>
        </p:spPr>
        <p:txBody>
          <a:bodyPr/>
          <a:lstStyle>
            <a:lvl1pPr algn="l">
              <a:defRPr sz="2000">
                <a:latin typeface="Asap" panose="02000506040000020004" pitchFamily="2" charset="0"/>
                <a:sym typeface="Asap" panose="02000506040000020004" pitchFamily="2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847AD28-E2D8-4924-91B5-81A95DE4B2A2}"/>
              </a:ext>
            </a:extLst>
          </p:cNvPr>
          <p:cNvSpPr txBox="1"/>
          <p:nvPr userDrawn="1"/>
        </p:nvSpPr>
        <p:spPr>
          <a:xfrm>
            <a:off x="0" y="4889584"/>
            <a:ext cx="3512501" cy="253916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sap" panose="02000506040000020004" pitchFamily="2" charset="0"/>
              </a:rPr>
              <a:t>Copyright © 2018 </a:t>
            </a:r>
            <a:r>
              <a:rPr lang="en-US" sz="105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sap" panose="02000506040000020004" pitchFamily="2" charset="0"/>
              </a:rPr>
              <a:t>|</a:t>
            </a:r>
            <a:r>
              <a:rPr lang="en-US" sz="80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sap" panose="02000506040000020004" pitchFamily="2" charset="0"/>
              </a:rPr>
              <a:t> Wireless Broadband Alliance Ltd. All rights reserved  </a:t>
            </a:r>
          </a:p>
        </p:txBody>
      </p:sp>
    </p:spTree>
    <p:extLst>
      <p:ext uri="{BB962C8B-B14F-4D97-AF65-F5344CB8AC3E}">
        <p14:creationId xmlns:p14="http://schemas.microsoft.com/office/powerpoint/2010/main" val="23240859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Splash Text (e.g. Thank yo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64756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0" name="think-cell Slide" r:id="rId4" imgW="540" imgH="541" progId="TCLayout.ActiveDocument.1">
                  <p:embed/>
                </p:oleObj>
              </mc:Choice>
              <mc:Fallback>
                <p:oleObj name="think-cell Slide" r:id="rId4" imgW="540" imgH="54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1"/>
          <p:cNvSpPr/>
          <p:nvPr userDrawn="1"/>
        </p:nvSpPr>
        <p:spPr>
          <a:xfrm>
            <a:off x="0" y="2185988"/>
            <a:ext cx="7245350" cy="485775"/>
          </a:xfrm>
          <a:custGeom>
            <a:avLst/>
            <a:gdLst>
              <a:gd name="connsiteX0" fmla="*/ 0 w 7244773"/>
              <a:gd name="connsiteY0" fmla="*/ 0 h 646545"/>
              <a:gd name="connsiteX1" fmla="*/ 7244773 w 7244773"/>
              <a:gd name="connsiteY1" fmla="*/ 0 h 646545"/>
              <a:gd name="connsiteX2" fmla="*/ 7244773 w 7244773"/>
              <a:gd name="connsiteY2" fmla="*/ 646545 h 646545"/>
              <a:gd name="connsiteX3" fmla="*/ 0 w 7244773"/>
              <a:gd name="connsiteY3" fmla="*/ 646545 h 646545"/>
              <a:gd name="connsiteX4" fmla="*/ 0 w 7244773"/>
              <a:gd name="connsiteY4" fmla="*/ 0 h 646545"/>
              <a:gd name="connsiteX0" fmla="*/ 0 w 7244773"/>
              <a:gd name="connsiteY0" fmla="*/ 0 h 646545"/>
              <a:gd name="connsiteX1" fmla="*/ 6517410 w 7244773"/>
              <a:gd name="connsiteY1" fmla="*/ 0 h 646545"/>
              <a:gd name="connsiteX2" fmla="*/ 7244773 w 7244773"/>
              <a:gd name="connsiteY2" fmla="*/ 646545 h 646545"/>
              <a:gd name="connsiteX3" fmla="*/ 0 w 7244773"/>
              <a:gd name="connsiteY3" fmla="*/ 646545 h 646545"/>
              <a:gd name="connsiteX4" fmla="*/ 0 w 7244773"/>
              <a:gd name="connsiteY4" fmla="*/ 0 h 6465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44773" h="646545">
                <a:moveTo>
                  <a:pt x="0" y="0"/>
                </a:moveTo>
                <a:lnTo>
                  <a:pt x="6517410" y="0"/>
                </a:lnTo>
                <a:lnTo>
                  <a:pt x="7244773" y="646545"/>
                </a:lnTo>
                <a:lnTo>
                  <a:pt x="0" y="646545"/>
                </a:lnTo>
                <a:lnTo>
                  <a:pt x="0" y="0"/>
                </a:lnTo>
                <a:close/>
              </a:path>
            </a:pathLst>
          </a:custGeom>
          <a:solidFill>
            <a:srgbClr val="105CA0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n-US">
              <a:latin typeface="Asap" panose="02000506040000020004" pitchFamily="2" charset="0"/>
              <a:sym typeface="Asap" panose="02000506040000020004" pitchFamily="2" charset="0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0"/>
          </p:nvPr>
        </p:nvSpPr>
        <p:spPr>
          <a:xfrm>
            <a:off x="728797" y="2195766"/>
            <a:ext cx="5510577" cy="37231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1" baseline="0">
                <a:solidFill>
                  <a:srgbClr val="FFFFFF"/>
                </a:solidFill>
                <a:latin typeface="Asap" panose="02000506040000020004" pitchFamily="2" charset="0"/>
                <a:cs typeface="Asap" panose="02000506040000020004" pitchFamily="2" charset="0"/>
                <a:sym typeface="Asap" panose="02000506040000020004" pitchFamily="2" charset="0"/>
              </a:defRPr>
            </a:lvl1pPr>
            <a:lvl2pPr>
              <a:defRPr sz="1600">
                <a:solidFill>
                  <a:srgbClr val="7F7F7F"/>
                </a:solidFill>
                <a:latin typeface="Asap"/>
                <a:cs typeface="Asap"/>
              </a:defRPr>
            </a:lvl2pPr>
            <a:lvl3pPr>
              <a:defRPr sz="1400">
                <a:solidFill>
                  <a:srgbClr val="7F7F7F"/>
                </a:solidFill>
                <a:latin typeface="Asap"/>
                <a:cs typeface="Asap"/>
              </a:defRPr>
            </a:lvl3pPr>
            <a:lvl4pPr>
              <a:defRPr sz="1200">
                <a:solidFill>
                  <a:srgbClr val="7F7F7F"/>
                </a:solidFill>
                <a:latin typeface="Asap"/>
                <a:cs typeface="Asap"/>
              </a:defRPr>
            </a:lvl4pPr>
            <a:lvl5pPr>
              <a:defRPr sz="1200">
                <a:solidFill>
                  <a:srgbClr val="7F7F7F"/>
                </a:solidFill>
                <a:latin typeface="Asap"/>
                <a:cs typeface="Asap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9144000" cy="51911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sap" panose="02000506040000020004" pitchFamily="2" charset="0"/>
              <a:sym typeface="Asap" panose="02000506040000020004" pitchFamily="2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7570573" y="3943393"/>
            <a:ext cx="1580292" cy="120697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sap" panose="02000506040000020004" pitchFamily="2" charset="0"/>
              <a:sym typeface="Asap" panose="0200050604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51604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Text Based Slide">
  <p:cSld name="12_Text Based Slide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75631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4" name="think-cell Slide" r:id="rId4" imgW="540" imgH="541" progId="TCLayout.ActiveDocument.1">
                  <p:embed/>
                </p:oleObj>
              </mc:Choice>
              <mc:Fallback>
                <p:oleObj name="think-cell Slide" r:id="rId4" imgW="540" imgH="54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0" name="Shape 70"/>
          <p:cNvPicPr preferRelativeResize="0"/>
          <p:nvPr/>
        </p:nvPicPr>
        <p:blipFill/>
        <p:spPr>
          <a:xfrm>
            <a:off x="1588" y="1588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</p:spPr>
      </p:pic>
      <p:sp>
        <p:nvSpPr>
          <p:cNvPr id="71" name="Shape 71"/>
          <p:cNvSpPr txBox="1">
            <a:spLocks noGrp="1"/>
          </p:cNvSpPr>
          <p:nvPr>
            <p:ph type="body" idx="1"/>
          </p:nvPr>
        </p:nvSpPr>
        <p:spPr>
          <a:xfrm>
            <a:off x="933017" y="1048576"/>
            <a:ext cx="7259980" cy="35761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rgbClr val="7F7F7F"/>
                </a:solidFill>
                <a:latin typeface="Asap" panose="02000506040000020004" pitchFamily="2" charset="0"/>
                <a:ea typeface="Asap" panose="02000506040000020004" pitchFamily="2" charset="0"/>
                <a:cs typeface="Asap" panose="02000506040000020004" pitchFamily="2" charset="0"/>
                <a:sym typeface="Asap" panose="02000506040000020004" pitchFamily="2" charset="0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7F7F7F"/>
                </a:solidFill>
                <a:latin typeface="Asap"/>
                <a:ea typeface="Asap"/>
                <a:cs typeface="Asap"/>
                <a:sym typeface="Asap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7F7F7F"/>
                </a:solidFill>
                <a:latin typeface="Asap"/>
                <a:ea typeface="Asap"/>
                <a:cs typeface="Asap"/>
                <a:sym typeface="Asap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100" b="0" i="0" u="none" strike="noStrike" cap="none">
                <a:solidFill>
                  <a:srgbClr val="7F7F7F"/>
                </a:solidFill>
                <a:latin typeface="Asap"/>
                <a:ea typeface="Asap"/>
                <a:cs typeface="Asap"/>
                <a:sym typeface="Asap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100" b="0" i="0" u="none" strike="noStrike" cap="none">
                <a:solidFill>
                  <a:srgbClr val="7F7F7F"/>
                </a:solidFill>
                <a:latin typeface="Asap"/>
                <a:ea typeface="Asap"/>
                <a:cs typeface="Asap"/>
                <a:sym typeface="Asap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2" name="Shape 72"/>
          <p:cNvSpPr txBox="1">
            <a:spLocks noGrp="1"/>
          </p:cNvSpPr>
          <p:nvPr>
            <p:ph type="title"/>
          </p:nvPr>
        </p:nvSpPr>
        <p:spPr>
          <a:xfrm>
            <a:off x="468630" y="54801"/>
            <a:ext cx="6031230" cy="4023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sap" panose="02000506040000020004" pitchFamily="2" charset="0"/>
                <a:ea typeface="Asap" panose="02000506040000020004" pitchFamily="2" charset="0"/>
                <a:cs typeface="Asap" panose="02000506040000020004" pitchFamily="2" charset="0"/>
                <a:sym typeface="Asap" panose="02000506040000020004" pitchFamily="2" charset="0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647662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5E53CF9-2A25-45E7-BB5D-91BCADEB05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685305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2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5E53CF9-2A25-45E7-BB5D-91BCADEB05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>
            <a:extLst>
              <a:ext uri="{FF2B5EF4-FFF2-40B4-BE49-F238E27FC236}">
                <a16:creationId xmlns:a16="http://schemas.microsoft.com/office/drawing/2014/main" id="{5C8F0B19-CA13-4D0E-B06E-67E3D54AF229}"/>
              </a:ext>
            </a:extLst>
          </p:cNvPr>
          <p:cNvGrpSpPr/>
          <p:nvPr userDrawn="1"/>
        </p:nvGrpSpPr>
        <p:grpSpPr>
          <a:xfrm>
            <a:off x="2930979" y="797816"/>
            <a:ext cx="3282043" cy="57801"/>
            <a:chOff x="4379494" y="697832"/>
            <a:chExt cx="2586787" cy="168442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84D5EFAE-BB88-4B3D-8484-86A6CBBF386E}"/>
                </a:ext>
              </a:extLst>
            </p:cNvPr>
            <p:cNvSpPr/>
            <p:nvPr/>
          </p:nvSpPr>
          <p:spPr>
            <a:xfrm>
              <a:off x="4379494" y="697832"/>
              <a:ext cx="517358" cy="168442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C41C671-2564-42A5-83F2-E15989574371}"/>
                </a:ext>
              </a:extLst>
            </p:cNvPr>
            <p:cNvSpPr/>
            <p:nvPr/>
          </p:nvSpPr>
          <p:spPr>
            <a:xfrm>
              <a:off x="4896851" y="697832"/>
              <a:ext cx="517358" cy="16844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46D60C6-F049-4E52-9CEF-E9FCF22BD3D4}"/>
                </a:ext>
              </a:extLst>
            </p:cNvPr>
            <p:cNvSpPr/>
            <p:nvPr/>
          </p:nvSpPr>
          <p:spPr>
            <a:xfrm>
              <a:off x="5414208" y="697832"/>
              <a:ext cx="517358" cy="16844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6045A27E-892D-4D6B-BDFF-5FD860699634}"/>
                </a:ext>
              </a:extLst>
            </p:cNvPr>
            <p:cNvSpPr/>
            <p:nvPr/>
          </p:nvSpPr>
          <p:spPr>
            <a:xfrm>
              <a:off x="5931565" y="697832"/>
              <a:ext cx="517358" cy="1684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19B937D-CA4A-46E0-8D5A-85C76FF0129D}"/>
                </a:ext>
              </a:extLst>
            </p:cNvPr>
            <p:cNvSpPr/>
            <p:nvPr/>
          </p:nvSpPr>
          <p:spPr>
            <a:xfrm>
              <a:off x="6448923" y="697832"/>
              <a:ext cx="517358" cy="16844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</p:grpSp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42647" y="254632"/>
            <a:ext cx="8679898" cy="5431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05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Asap" panose="02000506040000020004" pitchFamily="2" charset="0"/>
                <a:cs typeface="Arial" pitchFamily="34" charset="0"/>
                <a:sym typeface="Asap" panose="02000506040000020004" pitchFamily="2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2247763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48BA120-3DB2-493C-AAD5-0E4D095BF3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370459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6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48BA120-3DB2-493C-AAD5-0E4D095BF3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42647" y="254632"/>
            <a:ext cx="8679898" cy="5431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05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Asap" panose="02000506040000020004" pitchFamily="2" charset="0"/>
                <a:cs typeface="Arial" pitchFamily="34" charset="0"/>
                <a:sym typeface="Asap" panose="02000506040000020004" pitchFamily="2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3C46DD9-9A8F-411D-B597-946818B71DE8}"/>
              </a:ext>
            </a:extLst>
          </p:cNvPr>
          <p:cNvGrpSpPr/>
          <p:nvPr userDrawn="1"/>
        </p:nvGrpSpPr>
        <p:grpSpPr>
          <a:xfrm>
            <a:off x="0" y="4948390"/>
            <a:ext cx="9144000" cy="195110"/>
            <a:chOff x="4379494" y="697832"/>
            <a:chExt cx="2586787" cy="168442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E6E330ED-CBD0-49D6-96D9-8A0C1C4518A4}"/>
                </a:ext>
              </a:extLst>
            </p:cNvPr>
            <p:cNvSpPr/>
            <p:nvPr/>
          </p:nvSpPr>
          <p:spPr>
            <a:xfrm>
              <a:off x="4379494" y="697832"/>
              <a:ext cx="517358" cy="168442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28152-6864-487D-B9D6-395800F0CC7C}"/>
                </a:ext>
              </a:extLst>
            </p:cNvPr>
            <p:cNvSpPr/>
            <p:nvPr/>
          </p:nvSpPr>
          <p:spPr>
            <a:xfrm>
              <a:off x="4896852" y="697832"/>
              <a:ext cx="517358" cy="16844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57E5C8F6-620C-4584-AE0A-5E4F2E6565C5}"/>
                </a:ext>
              </a:extLst>
            </p:cNvPr>
            <p:cNvSpPr/>
            <p:nvPr/>
          </p:nvSpPr>
          <p:spPr>
            <a:xfrm>
              <a:off x="5414209" y="697832"/>
              <a:ext cx="517358" cy="16844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B5925AB1-BE47-453E-8EF4-924465289B54}"/>
                </a:ext>
              </a:extLst>
            </p:cNvPr>
            <p:cNvSpPr/>
            <p:nvPr/>
          </p:nvSpPr>
          <p:spPr>
            <a:xfrm>
              <a:off x="5931566" y="697832"/>
              <a:ext cx="517358" cy="1684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68FC2FC1-F83A-44D6-9D9A-A61E40D3B973}"/>
                </a:ext>
              </a:extLst>
            </p:cNvPr>
            <p:cNvSpPr/>
            <p:nvPr/>
          </p:nvSpPr>
          <p:spPr>
            <a:xfrm>
              <a:off x="6448923" y="697832"/>
              <a:ext cx="517358" cy="16844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BC8EC325-CE62-415E-834A-7F70F7855117}"/>
              </a:ext>
            </a:extLst>
          </p:cNvPr>
          <p:cNvSpPr/>
          <p:nvPr userDrawn="1"/>
        </p:nvSpPr>
        <p:spPr>
          <a:xfrm flipV="1">
            <a:off x="0" y="887853"/>
            <a:ext cx="1321594" cy="3428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latin typeface="Asap" panose="02000506040000020004" pitchFamily="2" charset="0"/>
              <a:sym typeface="Asap" panose="0200050604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766539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A768350-4514-4642-AEEF-CB95CB3D97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380734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0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A768350-4514-4642-AEEF-CB95CB3D97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9589061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layou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C7A9606-1699-4AA2-AA12-39EC4B839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605012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4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C7A9606-1699-4AA2-AA12-39EC4B839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3003423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yle slide layou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6A2370D-AEC1-4AE0-92F1-55E9686D96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8979627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8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6A2370D-AEC1-4AE0-92F1-55E9686D96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09446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6CE7522-736F-4B82-9963-946087D01B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5667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0F8B318-812C-48F7-B16E-526308BF206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sap" panose="02000506040000020004" pitchFamily="2" charset="0"/>
              <a:ea typeface="ＭＳ Ｐゴシック" panose="020B0600070205080204" pitchFamily="34" charset="-128"/>
              <a:cs typeface="Arial" panose="020B0604020202020204" pitchFamily="34" charset="0"/>
              <a:sym typeface="Asap" panose="02000506040000020004" pitchFamily="2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7268519" y="4313756"/>
            <a:ext cx="1882346" cy="84060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sap" panose="02000506040000020004" pitchFamily="2" charset="0"/>
              <a:cs typeface="Arial" panose="020B0604020202020204" pitchFamily="34" charset="0"/>
              <a:sym typeface="Asap" panose="02000506040000020004" pitchFamily="2" charset="0"/>
            </a:endParaRPr>
          </a:p>
        </p:txBody>
      </p:sp>
      <p:pic>
        <p:nvPicPr>
          <p:cNvPr id="2" name="Picture 1" descr="Long Stripe.png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08970" y="4697928"/>
            <a:ext cx="5655625" cy="46329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844186" y="519113"/>
            <a:ext cx="2926992" cy="1115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Content Placeholder 2"/>
          <p:cNvSpPr>
            <a:spLocks noGrp="1"/>
          </p:cNvSpPr>
          <p:nvPr>
            <p:ph idx="10"/>
          </p:nvPr>
        </p:nvSpPr>
        <p:spPr>
          <a:xfrm>
            <a:off x="3488375" y="3969460"/>
            <a:ext cx="5510577" cy="37231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None/>
              <a:defRPr sz="1800" b="0" baseline="0">
                <a:solidFill>
                  <a:srgbClr val="7F7F7F"/>
                </a:solidFill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  <a:lvl2pPr>
              <a:defRPr sz="1600">
                <a:solidFill>
                  <a:srgbClr val="7F7F7F"/>
                </a:solidFill>
                <a:latin typeface="Asap"/>
                <a:cs typeface="Asap"/>
              </a:defRPr>
            </a:lvl2pPr>
            <a:lvl3pPr>
              <a:defRPr sz="1400">
                <a:solidFill>
                  <a:srgbClr val="7F7F7F"/>
                </a:solidFill>
                <a:latin typeface="Asap"/>
                <a:cs typeface="Asap"/>
              </a:defRPr>
            </a:lvl3pPr>
            <a:lvl4pPr>
              <a:defRPr sz="1200">
                <a:solidFill>
                  <a:srgbClr val="7F7F7F"/>
                </a:solidFill>
                <a:latin typeface="Asap"/>
                <a:cs typeface="Asap"/>
              </a:defRPr>
            </a:lvl4pPr>
            <a:lvl5pPr>
              <a:defRPr sz="1200">
                <a:solidFill>
                  <a:srgbClr val="7F7F7F"/>
                </a:solidFill>
                <a:latin typeface="Asap"/>
                <a:cs typeface="Asap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idx="11"/>
          </p:nvPr>
        </p:nvSpPr>
        <p:spPr>
          <a:xfrm>
            <a:off x="6650505" y="4817594"/>
            <a:ext cx="2362177" cy="2267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100" baseline="0">
                <a:solidFill>
                  <a:schemeClr val="bg1"/>
                </a:solidFill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0" y="-8921"/>
            <a:ext cx="9144000" cy="51911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sap" panose="02000506040000020004" pitchFamily="2" charset="0"/>
              <a:cs typeface="Arial" panose="020B0604020202020204" pitchFamily="34" charset="0"/>
              <a:sym typeface="Asap" panose="02000506040000020004" pitchFamily="2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8C0A721-4927-4677-BDBA-00D531FE6A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6699" y="3176734"/>
            <a:ext cx="4278200" cy="562488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>
                    <a:lumMod val="50000"/>
                  </a:schemeClr>
                </a:solidFill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12" name="iStock_000083070137_Double.psd">
            <a:extLst>
              <a:ext uri="{FF2B5EF4-FFF2-40B4-BE49-F238E27FC236}">
                <a16:creationId xmlns:a16="http://schemas.microsoft.com/office/drawing/2014/main" id="{A9F371DE-A591-4D66-98A9-62F7CEE8D683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1742643"/>
            <a:ext cx="5812856" cy="29484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13968404"/>
      </p:ext>
    </p:extLst>
  </p:cSld>
  <p:clrMapOvr>
    <a:masterClrMapping/>
  </p:clrMapOvr>
  <p:hf sldNum="0"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yle slide layou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0C219C19-C1CD-4192-8D52-365D00AA59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956651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2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0C219C19-C1CD-4192-8D52-365D00AA59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AD12A631-1449-458D-8F7A-DD74ACB1BF08}"/>
              </a:ext>
            </a:extLst>
          </p:cNvPr>
          <p:cNvSpPr/>
          <p:nvPr userDrawn="1"/>
        </p:nvSpPr>
        <p:spPr>
          <a:xfrm>
            <a:off x="1" y="2144105"/>
            <a:ext cx="9143999" cy="1653101"/>
          </a:xfrm>
          <a:prstGeom prst="rect">
            <a:avLst/>
          </a:prstGeom>
          <a:gradFill flip="none" rotWithShape="1">
            <a:gsLst>
              <a:gs pos="74000">
                <a:schemeClr val="accent6">
                  <a:alpha val="70000"/>
                </a:schemeClr>
              </a:gs>
              <a:gs pos="45000">
                <a:schemeClr val="accent6">
                  <a:alpha val="75000"/>
                </a:schemeClr>
              </a:gs>
              <a:gs pos="8000">
                <a:schemeClr val="accent1">
                  <a:alpha val="0"/>
                </a:schemeClr>
              </a:gs>
              <a:gs pos="96000">
                <a:schemeClr val="accent5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>
              <a:latin typeface="Asap" panose="02000506040000020004" pitchFamily="2" charset="0"/>
              <a:sym typeface="Asap" panose="02000506040000020004" pitchFamily="2" charset="0"/>
            </a:endParaRPr>
          </a:p>
        </p:txBody>
      </p:sp>
      <p:grpSp>
        <p:nvGrpSpPr>
          <p:cNvPr id="2" name="Graphic 14">
            <a:extLst>
              <a:ext uri="{FF2B5EF4-FFF2-40B4-BE49-F238E27FC236}">
                <a16:creationId xmlns:a16="http://schemas.microsoft.com/office/drawing/2014/main" id="{EB6248EF-B06C-43D0-91E9-33C54CEB5B7B}"/>
              </a:ext>
            </a:extLst>
          </p:cNvPr>
          <p:cNvGrpSpPr/>
          <p:nvPr userDrawn="1"/>
        </p:nvGrpSpPr>
        <p:grpSpPr>
          <a:xfrm>
            <a:off x="565084" y="1979478"/>
            <a:ext cx="3196295" cy="2513941"/>
            <a:chOff x="2444748" y="555045"/>
            <a:chExt cx="7282048" cy="5727454"/>
          </a:xfrm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F4296F62-9662-4403-9A1B-140DFC6CEF67}"/>
                </a:ext>
              </a:extLst>
            </p:cNvPr>
            <p:cNvSpPr/>
            <p:nvPr/>
          </p:nvSpPr>
          <p:spPr>
            <a:xfrm>
              <a:off x="4964693" y="5443837"/>
              <a:ext cx="2168250" cy="818208"/>
            </a:xfrm>
            <a:custGeom>
              <a:avLst/>
              <a:gdLst>
                <a:gd name="connsiteX0" fmla="*/ 1941333 w 2168250"/>
                <a:gd name="connsiteY0" fmla="*/ 525699 h 818207"/>
                <a:gd name="connsiteX1" fmla="*/ 1785874 w 2168250"/>
                <a:gd name="connsiteY1" fmla="*/ 30683 h 818207"/>
                <a:gd name="connsiteX2" fmla="*/ 1114943 w 2168250"/>
                <a:gd name="connsiteY2" fmla="*/ 30683 h 818207"/>
                <a:gd name="connsiteX3" fmla="*/ 1065851 w 2168250"/>
                <a:gd name="connsiteY3" fmla="*/ 30683 h 818207"/>
                <a:gd name="connsiteX4" fmla="*/ 390830 w 2168250"/>
                <a:gd name="connsiteY4" fmla="*/ 30683 h 818207"/>
                <a:gd name="connsiteX5" fmla="*/ 235370 w 2168250"/>
                <a:gd name="connsiteY5" fmla="*/ 525699 h 818207"/>
                <a:gd name="connsiteX6" fmla="*/ 259916 w 2168250"/>
                <a:gd name="connsiteY6" fmla="*/ 816162 h 818207"/>
                <a:gd name="connsiteX7" fmla="*/ 1065851 w 2168250"/>
                <a:gd name="connsiteY7" fmla="*/ 816162 h 818207"/>
                <a:gd name="connsiteX8" fmla="*/ 1114943 w 2168250"/>
                <a:gd name="connsiteY8" fmla="*/ 816162 h 818207"/>
                <a:gd name="connsiteX9" fmla="*/ 1920878 w 2168250"/>
                <a:gd name="connsiteY9" fmla="*/ 816162 h 818207"/>
                <a:gd name="connsiteX10" fmla="*/ 1941333 w 2168250"/>
                <a:gd name="connsiteY10" fmla="*/ 525699 h 818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68250" h="818207">
                  <a:moveTo>
                    <a:pt x="1941333" y="525699"/>
                  </a:moveTo>
                  <a:cubicBezTo>
                    <a:pt x="1789965" y="370239"/>
                    <a:pt x="1785874" y="30683"/>
                    <a:pt x="1785874" y="30683"/>
                  </a:cubicBezTo>
                  <a:lnTo>
                    <a:pt x="1114943" y="30683"/>
                  </a:lnTo>
                  <a:lnTo>
                    <a:pt x="1065851" y="30683"/>
                  </a:lnTo>
                  <a:lnTo>
                    <a:pt x="390830" y="30683"/>
                  </a:lnTo>
                  <a:cubicBezTo>
                    <a:pt x="390830" y="30683"/>
                    <a:pt x="386739" y="366148"/>
                    <a:pt x="235370" y="525699"/>
                  </a:cubicBezTo>
                  <a:cubicBezTo>
                    <a:pt x="84002" y="681158"/>
                    <a:pt x="-149188" y="816162"/>
                    <a:pt x="259916" y="816162"/>
                  </a:cubicBezTo>
                  <a:cubicBezTo>
                    <a:pt x="587199" y="816162"/>
                    <a:pt x="939029" y="816162"/>
                    <a:pt x="1065851" y="816162"/>
                  </a:cubicBezTo>
                  <a:cubicBezTo>
                    <a:pt x="1098579" y="816162"/>
                    <a:pt x="1114943" y="816162"/>
                    <a:pt x="1114943" y="816162"/>
                  </a:cubicBezTo>
                  <a:cubicBezTo>
                    <a:pt x="1245857" y="816162"/>
                    <a:pt x="1597686" y="816162"/>
                    <a:pt x="1920878" y="816162"/>
                  </a:cubicBezTo>
                  <a:cubicBezTo>
                    <a:pt x="2329982" y="816162"/>
                    <a:pt x="2092702" y="681158"/>
                    <a:pt x="1941333" y="525699"/>
                  </a:cubicBezTo>
                  <a:close/>
                </a:path>
              </a:pathLst>
            </a:custGeom>
            <a:gradFill>
              <a:gsLst>
                <a:gs pos="0">
                  <a:schemeClr val="bg1">
                    <a:lumMod val="75000"/>
                  </a:schemeClr>
                </a:gs>
                <a:gs pos="53000">
                  <a:schemeClr val="bg1">
                    <a:lumMod val="85000"/>
                  </a:schemeClr>
                </a:gs>
                <a:gs pos="83000">
                  <a:schemeClr val="bg1">
                    <a:lumMod val="7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6200000" scaled="0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EC151A04-4E35-4F1C-99AA-68E3920CDF5B}"/>
                </a:ext>
              </a:extLst>
            </p:cNvPr>
            <p:cNvSpPr/>
            <p:nvPr/>
          </p:nvSpPr>
          <p:spPr>
            <a:xfrm>
              <a:off x="2444748" y="555045"/>
              <a:ext cx="7282048" cy="4950157"/>
            </a:xfrm>
            <a:custGeom>
              <a:avLst/>
              <a:gdLst>
                <a:gd name="connsiteX0" fmla="*/ 7038632 w 7282048"/>
                <a:gd name="connsiteY0" fmla="*/ 30683 h 4950157"/>
                <a:gd name="connsiteX1" fmla="*/ 3704436 w 7282048"/>
                <a:gd name="connsiteY1" fmla="*/ 30683 h 4950157"/>
                <a:gd name="connsiteX2" fmla="*/ 3589886 w 7282048"/>
                <a:gd name="connsiteY2" fmla="*/ 30683 h 4950157"/>
                <a:gd name="connsiteX3" fmla="*/ 259781 w 7282048"/>
                <a:gd name="connsiteY3" fmla="*/ 30683 h 4950157"/>
                <a:gd name="connsiteX4" fmla="*/ 30683 w 7282048"/>
                <a:gd name="connsiteY4" fmla="*/ 259781 h 4950157"/>
                <a:gd name="connsiteX5" fmla="*/ 30683 w 7282048"/>
                <a:gd name="connsiteY5" fmla="*/ 4698558 h 4950157"/>
                <a:gd name="connsiteX6" fmla="*/ 239326 w 7282048"/>
                <a:gd name="connsiteY6" fmla="*/ 4931748 h 4950157"/>
                <a:gd name="connsiteX7" fmla="*/ 7042723 w 7282048"/>
                <a:gd name="connsiteY7" fmla="*/ 4931748 h 4950157"/>
                <a:gd name="connsiteX8" fmla="*/ 7251366 w 7282048"/>
                <a:gd name="connsiteY8" fmla="*/ 4698558 h 4950157"/>
                <a:gd name="connsiteX9" fmla="*/ 7251366 w 7282048"/>
                <a:gd name="connsiteY9" fmla="*/ 259781 h 4950157"/>
                <a:gd name="connsiteX10" fmla="*/ 7038632 w 7282048"/>
                <a:gd name="connsiteY10" fmla="*/ 30683 h 4950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282048" h="4950157">
                  <a:moveTo>
                    <a:pt x="7038632" y="30683"/>
                  </a:moveTo>
                  <a:lnTo>
                    <a:pt x="3704436" y="30683"/>
                  </a:lnTo>
                  <a:lnTo>
                    <a:pt x="3589886" y="30683"/>
                  </a:lnTo>
                  <a:lnTo>
                    <a:pt x="259781" y="30683"/>
                  </a:lnTo>
                  <a:cubicBezTo>
                    <a:pt x="141141" y="30683"/>
                    <a:pt x="30683" y="128868"/>
                    <a:pt x="30683" y="259781"/>
                  </a:cubicBezTo>
                  <a:lnTo>
                    <a:pt x="30683" y="4698558"/>
                  </a:lnTo>
                  <a:cubicBezTo>
                    <a:pt x="30683" y="4829472"/>
                    <a:pt x="124777" y="4931748"/>
                    <a:pt x="239326" y="4931748"/>
                  </a:cubicBezTo>
                  <a:lnTo>
                    <a:pt x="7042723" y="4931748"/>
                  </a:lnTo>
                  <a:cubicBezTo>
                    <a:pt x="7157272" y="4931748"/>
                    <a:pt x="7251366" y="4825380"/>
                    <a:pt x="7251366" y="4698558"/>
                  </a:cubicBezTo>
                  <a:lnTo>
                    <a:pt x="7251366" y="259781"/>
                  </a:lnTo>
                  <a:cubicBezTo>
                    <a:pt x="7251366" y="128868"/>
                    <a:pt x="7157272" y="30683"/>
                    <a:pt x="7038632" y="30683"/>
                  </a:cubicBezTo>
                  <a:close/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 dirty="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6924EC27-EA8E-48AC-B3BA-B86C7B650247}"/>
                </a:ext>
              </a:extLst>
            </p:cNvPr>
            <p:cNvSpPr/>
            <p:nvPr/>
          </p:nvSpPr>
          <p:spPr>
            <a:xfrm>
              <a:off x="8706599" y="5435655"/>
              <a:ext cx="490925" cy="81821"/>
            </a:xfrm>
            <a:custGeom>
              <a:avLst/>
              <a:gdLst>
                <a:gd name="connsiteX0" fmla="*/ 32212 w 490924"/>
                <a:gd name="connsiteY0" fmla="*/ 30683 h 81820"/>
                <a:gd name="connsiteX1" fmla="*/ 64939 w 490924"/>
                <a:gd name="connsiteY1" fmla="*/ 71593 h 81820"/>
                <a:gd name="connsiteX2" fmla="*/ 461771 w 490924"/>
                <a:gd name="connsiteY2" fmla="*/ 71593 h 81820"/>
                <a:gd name="connsiteX3" fmla="*/ 498590 w 490924"/>
                <a:gd name="connsiteY3" fmla="*/ 30683 h 81820"/>
                <a:gd name="connsiteX4" fmla="*/ 32212 w 490924"/>
                <a:gd name="connsiteY4" fmla="*/ 30683 h 81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0924" h="81820">
                  <a:moveTo>
                    <a:pt x="32212" y="30683"/>
                  </a:moveTo>
                  <a:cubicBezTo>
                    <a:pt x="32212" y="30683"/>
                    <a:pt x="19938" y="67502"/>
                    <a:pt x="64939" y="71593"/>
                  </a:cubicBezTo>
                  <a:lnTo>
                    <a:pt x="461771" y="71593"/>
                  </a:lnTo>
                  <a:cubicBezTo>
                    <a:pt x="461771" y="71593"/>
                    <a:pt x="502681" y="75684"/>
                    <a:pt x="498590" y="30683"/>
                  </a:cubicBezTo>
                  <a:lnTo>
                    <a:pt x="32212" y="30683"/>
                  </a:lnTo>
                  <a:close/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AF88730B-3EDA-490F-8B6F-5357A5EF0ECA}"/>
                </a:ext>
              </a:extLst>
            </p:cNvPr>
            <p:cNvSpPr/>
            <p:nvPr/>
          </p:nvSpPr>
          <p:spPr>
            <a:xfrm>
              <a:off x="2481568" y="595956"/>
              <a:ext cx="7200228" cy="4336501"/>
            </a:xfrm>
            <a:custGeom>
              <a:avLst/>
              <a:gdLst>
                <a:gd name="connsiteX0" fmla="*/ 6973175 w 7200227"/>
                <a:gd name="connsiteY0" fmla="*/ 30683 h 4336501"/>
                <a:gd name="connsiteX1" fmla="*/ 3671707 w 7200227"/>
                <a:gd name="connsiteY1" fmla="*/ 30683 h 4336501"/>
                <a:gd name="connsiteX2" fmla="*/ 3561249 w 7200227"/>
                <a:gd name="connsiteY2" fmla="*/ 30683 h 4336501"/>
                <a:gd name="connsiteX3" fmla="*/ 259781 w 7200227"/>
                <a:gd name="connsiteY3" fmla="*/ 30683 h 4336501"/>
                <a:gd name="connsiteX4" fmla="*/ 30683 w 7200227"/>
                <a:gd name="connsiteY4" fmla="*/ 231144 h 4336501"/>
                <a:gd name="connsiteX5" fmla="*/ 30683 w 7200227"/>
                <a:gd name="connsiteY5" fmla="*/ 4330365 h 4336501"/>
                <a:gd name="connsiteX6" fmla="*/ 7185909 w 7200227"/>
                <a:gd name="connsiteY6" fmla="*/ 4330365 h 4336501"/>
                <a:gd name="connsiteX7" fmla="*/ 7185909 w 7200227"/>
                <a:gd name="connsiteY7" fmla="*/ 231144 h 4336501"/>
                <a:gd name="connsiteX8" fmla="*/ 6973175 w 7200227"/>
                <a:gd name="connsiteY8" fmla="*/ 30683 h 4336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00227" h="4336501">
                  <a:moveTo>
                    <a:pt x="6973175" y="30683"/>
                  </a:moveTo>
                  <a:lnTo>
                    <a:pt x="3671707" y="30683"/>
                  </a:lnTo>
                  <a:lnTo>
                    <a:pt x="3561249" y="30683"/>
                  </a:lnTo>
                  <a:lnTo>
                    <a:pt x="259781" y="30683"/>
                  </a:lnTo>
                  <a:cubicBezTo>
                    <a:pt x="141141" y="30683"/>
                    <a:pt x="30683" y="112504"/>
                    <a:pt x="30683" y="231144"/>
                  </a:cubicBezTo>
                  <a:lnTo>
                    <a:pt x="30683" y="4330365"/>
                  </a:lnTo>
                  <a:lnTo>
                    <a:pt x="7185909" y="4330365"/>
                  </a:lnTo>
                  <a:lnTo>
                    <a:pt x="7185909" y="231144"/>
                  </a:lnTo>
                  <a:cubicBezTo>
                    <a:pt x="7185909" y="112504"/>
                    <a:pt x="7091815" y="30683"/>
                    <a:pt x="6973175" y="30683"/>
                  </a:cubicBezTo>
                  <a:close/>
                </a:path>
              </a:pathLst>
            </a:custGeom>
            <a:solidFill>
              <a:srgbClr val="231F2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 dirty="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8AAC3D30-A9EC-437B-BAEC-5158F5227067}"/>
                </a:ext>
              </a:extLst>
            </p:cNvPr>
            <p:cNvSpPr/>
            <p:nvPr/>
          </p:nvSpPr>
          <p:spPr>
            <a:xfrm>
              <a:off x="4968919" y="6159768"/>
              <a:ext cx="2168250" cy="122731"/>
            </a:xfrm>
            <a:custGeom>
              <a:avLst/>
              <a:gdLst>
                <a:gd name="connsiteX0" fmla="*/ 30683 w 2168250"/>
                <a:gd name="connsiteY0" fmla="*/ 34774 h 122731"/>
                <a:gd name="connsiteX1" fmla="*/ 30683 w 2168250"/>
                <a:gd name="connsiteY1" fmla="*/ 34774 h 122731"/>
                <a:gd name="connsiteX2" fmla="*/ 30683 w 2168250"/>
                <a:gd name="connsiteY2" fmla="*/ 38865 h 122731"/>
                <a:gd name="connsiteX3" fmla="*/ 30683 w 2168250"/>
                <a:gd name="connsiteY3" fmla="*/ 38865 h 122731"/>
                <a:gd name="connsiteX4" fmla="*/ 263872 w 2168250"/>
                <a:gd name="connsiteY4" fmla="*/ 96140 h 122731"/>
                <a:gd name="connsiteX5" fmla="*/ 1069807 w 2168250"/>
                <a:gd name="connsiteY5" fmla="*/ 96140 h 122731"/>
                <a:gd name="connsiteX6" fmla="*/ 1118899 w 2168250"/>
                <a:gd name="connsiteY6" fmla="*/ 96140 h 122731"/>
                <a:gd name="connsiteX7" fmla="*/ 1924834 w 2168250"/>
                <a:gd name="connsiteY7" fmla="*/ 96140 h 122731"/>
                <a:gd name="connsiteX8" fmla="*/ 2153932 w 2168250"/>
                <a:gd name="connsiteY8" fmla="*/ 30683 h 122731"/>
                <a:gd name="connsiteX9" fmla="*/ 2137568 w 2168250"/>
                <a:gd name="connsiteY9" fmla="*/ 30683 h 122731"/>
                <a:gd name="connsiteX10" fmla="*/ 2137568 w 2168250"/>
                <a:gd name="connsiteY10" fmla="*/ 30683 h 122731"/>
                <a:gd name="connsiteX11" fmla="*/ 30683 w 2168250"/>
                <a:gd name="connsiteY11" fmla="*/ 30683 h 122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68250" h="122731">
                  <a:moveTo>
                    <a:pt x="30683" y="34774"/>
                  </a:moveTo>
                  <a:lnTo>
                    <a:pt x="30683" y="34774"/>
                  </a:lnTo>
                  <a:cubicBezTo>
                    <a:pt x="30683" y="38865"/>
                    <a:pt x="30683" y="38865"/>
                    <a:pt x="30683" y="38865"/>
                  </a:cubicBezTo>
                  <a:lnTo>
                    <a:pt x="30683" y="38865"/>
                  </a:lnTo>
                  <a:cubicBezTo>
                    <a:pt x="30683" y="79775"/>
                    <a:pt x="96139" y="96140"/>
                    <a:pt x="263872" y="96140"/>
                  </a:cubicBezTo>
                  <a:cubicBezTo>
                    <a:pt x="591155" y="96140"/>
                    <a:pt x="942984" y="96140"/>
                    <a:pt x="1069807" y="96140"/>
                  </a:cubicBezTo>
                  <a:cubicBezTo>
                    <a:pt x="1102535" y="96140"/>
                    <a:pt x="1118899" y="96140"/>
                    <a:pt x="1118899" y="96140"/>
                  </a:cubicBezTo>
                  <a:cubicBezTo>
                    <a:pt x="1249812" y="96140"/>
                    <a:pt x="1601642" y="96140"/>
                    <a:pt x="1924834" y="96140"/>
                  </a:cubicBezTo>
                  <a:cubicBezTo>
                    <a:pt x="2092566" y="96140"/>
                    <a:pt x="2149841" y="75684"/>
                    <a:pt x="2153932" y="30683"/>
                  </a:cubicBezTo>
                  <a:lnTo>
                    <a:pt x="2137568" y="30683"/>
                  </a:lnTo>
                  <a:lnTo>
                    <a:pt x="2137568" y="30683"/>
                  </a:lnTo>
                  <a:lnTo>
                    <a:pt x="30683" y="30683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 dirty="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1460114B-7023-4F6E-B074-79932670ADDE}"/>
                </a:ext>
              </a:extLst>
            </p:cNvPr>
            <p:cNvSpPr/>
            <p:nvPr/>
          </p:nvSpPr>
          <p:spPr>
            <a:xfrm>
              <a:off x="2481568" y="4903820"/>
              <a:ext cx="7200228" cy="572745"/>
            </a:xfrm>
            <a:custGeom>
              <a:avLst/>
              <a:gdLst>
                <a:gd name="connsiteX0" fmla="*/ 30683 w 7200227"/>
                <a:gd name="connsiteY0" fmla="*/ 362057 h 572745"/>
                <a:gd name="connsiteX1" fmla="*/ 259781 w 7200227"/>
                <a:gd name="connsiteY1" fmla="*/ 562518 h 572745"/>
                <a:gd name="connsiteX2" fmla="*/ 3561249 w 7200227"/>
                <a:gd name="connsiteY2" fmla="*/ 562518 h 572745"/>
                <a:gd name="connsiteX3" fmla="*/ 3671707 w 7200227"/>
                <a:gd name="connsiteY3" fmla="*/ 562518 h 572745"/>
                <a:gd name="connsiteX4" fmla="*/ 6973175 w 7200227"/>
                <a:gd name="connsiteY4" fmla="*/ 562518 h 572745"/>
                <a:gd name="connsiteX5" fmla="*/ 7185909 w 7200227"/>
                <a:gd name="connsiteY5" fmla="*/ 362057 h 572745"/>
                <a:gd name="connsiteX6" fmla="*/ 7185909 w 7200227"/>
                <a:gd name="connsiteY6" fmla="*/ 30683 h 572745"/>
                <a:gd name="connsiteX7" fmla="*/ 30683 w 7200227"/>
                <a:gd name="connsiteY7" fmla="*/ 30683 h 572745"/>
                <a:gd name="connsiteX8" fmla="*/ 30683 w 7200227"/>
                <a:gd name="connsiteY8" fmla="*/ 362057 h 572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00227" h="572745">
                  <a:moveTo>
                    <a:pt x="30683" y="362057"/>
                  </a:moveTo>
                  <a:cubicBezTo>
                    <a:pt x="30683" y="464333"/>
                    <a:pt x="141141" y="562518"/>
                    <a:pt x="259781" y="562518"/>
                  </a:cubicBezTo>
                  <a:lnTo>
                    <a:pt x="3561249" y="562518"/>
                  </a:lnTo>
                  <a:lnTo>
                    <a:pt x="3671707" y="562518"/>
                  </a:lnTo>
                  <a:lnTo>
                    <a:pt x="6973175" y="562518"/>
                  </a:lnTo>
                  <a:cubicBezTo>
                    <a:pt x="7091815" y="562518"/>
                    <a:pt x="7185909" y="464333"/>
                    <a:pt x="7185909" y="362057"/>
                  </a:cubicBezTo>
                  <a:lnTo>
                    <a:pt x="7185909" y="30683"/>
                  </a:lnTo>
                  <a:lnTo>
                    <a:pt x="30683" y="30683"/>
                  </a:lnTo>
                  <a:lnTo>
                    <a:pt x="30683" y="362057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3AC2F032-DFD7-46FF-8CCA-E33896C690DE}"/>
                </a:ext>
              </a:extLst>
            </p:cNvPr>
            <p:cNvSpPr/>
            <p:nvPr/>
          </p:nvSpPr>
          <p:spPr>
            <a:xfrm>
              <a:off x="2747714" y="910966"/>
              <a:ext cx="6676116" cy="3763756"/>
            </a:xfrm>
            <a:custGeom>
              <a:avLst/>
              <a:gdLst>
                <a:gd name="connsiteX0" fmla="*/ 30683 w 6586571"/>
                <a:gd name="connsiteY0" fmla="*/ 30683 h 3763755"/>
                <a:gd name="connsiteX1" fmla="*/ 6564071 w 6586571"/>
                <a:gd name="connsiteY1" fmla="*/ 30683 h 3763755"/>
                <a:gd name="connsiteX2" fmla="*/ 6564071 w 6586571"/>
                <a:gd name="connsiteY2" fmla="*/ 3753528 h 3763755"/>
                <a:gd name="connsiteX3" fmla="*/ 30683 w 6586571"/>
                <a:gd name="connsiteY3" fmla="*/ 3753528 h 3763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86571" h="3763755">
                  <a:moveTo>
                    <a:pt x="30683" y="30683"/>
                  </a:moveTo>
                  <a:lnTo>
                    <a:pt x="6564071" y="30683"/>
                  </a:lnTo>
                  <a:lnTo>
                    <a:pt x="6564071" y="3753528"/>
                  </a:lnTo>
                  <a:lnTo>
                    <a:pt x="30683" y="3753528"/>
                  </a:lnTo>
                  <a:close/>
                </a:path>
              </a:pathLst>
            </a:custGeom>
            <a:solidFill>
              <a:srgbClr val="F2F2F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EDDB5B76-DE90-4CC7-A371-1C02A86AF779}"/>
                </a:ext>
              </a:extLst>
            </p:cNvPr>
            <p:cNvSpPr/>
            <p:nvPr/>
          </p:nvSpPr>
          <p:spPr>
            <a:xfrm>
              <a:off x="5654591" y="939518"/>
              <a:ext cx="3769239" cy="3736342"/>
            </a:xfrm>
            <a:custGeom>
              <a:avLst/>
              <a:gdLst>
                <a:gd name="connsiteX0" fmla="*/ 2567127 w 4009217"/>
                <a:gd name="connsiteY0" fmla="*/ 30683 h 4295590"/>
                <a:gd name="connsiteX1" fmla="*/ 3798529 w 4009217"/>
                <a:gd name="connsiteY1" fmla="*/ 30683 h 4295590"/>
                <a:gd name="connsiteX2" fmla="*/ 4007172 w 4009217"/>
                <a:gd name="connsiteY2" fmla="*/ 272054 h 4295590"/>
                <a:gd name="connsiteX3" fmla="*/ 3998990 w 4009217"/>
                <a:gd name="connsiteY3" fmla="*/ 4268999 h 4295590"/>
                <a:gd name="connsiteX4" fmla="*/ 30683 w 4009217"/>
                <a:gd name="connsiteY4" fmla="*/ 4268999 h 4295590"/>
                <a:gd name="connsiteX0" fmla="*/ 2536444 w 3976489"/>
                <a:gd name="connsiteY0" fmla="*/ 0 h 4238316"/>
                <a:gd name="connsiteX1" fmla="*/ 3976489 w 3976489"/>
                <a:gd name="connsiteY1" fmla="*/ 241371 h 4238316"/>
                <a:gd name="connsiteX2" fmla="*/ 3968307 w 3976489"/>
                <a:gd name="connsiteY2" fmla="*/ 4238316 h 4238316"/>
                <a:gd name="connsiteX3" fmla="*/ 0 w 3976489"/>
                <a:gd name="connsiteY3" fmla="*/ 4238316 h 4238316"/>
                <a:gd name="connsiteX0" fmla="*/ 2536444 w 3976489"/>
                <a:gd name="connsiteY0" fmla="*/ 0 h 4238316"/>
                <a:gd name="connsiteX1" fmla="*/ 3976489 w 3976489"/>
                <a:gd name="connsiteY1" fmla="*/ 213683 h 4238316"/>
                <a:gd name="connsiteX2" fmla="*/ 3968307 w 3976489"/>
                <a:gd name="connsiteY2" fmla="*/ 4238316 h 4238316"/>
                <a:gd name="connsiteX3" fmla="*/ 0 w 3976489"/>
                <a:gd name="connsiteY3" fmla="*/ 4238316 h 4238316"/>
                <a:gd name="connsiteX0" fmla="*/ 2473335 w 3976489"/>
                <a:gd name="connsiteY0" fmla="*/ 0 h 4035268"/>
                <a:gd name="connsiteX1" fmla="*/ 3976489 w 3976489"/>
                <a:gd name="connsiteY1" fmla="*/ 10635 h 4035268"/>
                <a:gd name="connsiteX2" fmla="*/ 3968307 w 3976489"/>
                <a:gd name="connsiteY2" fmla="*/ 4035268 h 4035268"/>
                <a:gd name="connsiteX3" fmla="*/ 0 w 3976489"/>
                <a:gd name="connsiteY3" fmla="*/ 4035268 h 4035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76489" h="4035268">
                  <a:moveTo>
                    <a:pt x="2473335" y="0"/>
                  </a:moveTo>
                  <a:lnTo>
                    <a:pt x="3976489" y="10635"/>
                  </a:lnTo>
                  <a:cubicBezTo>
                    <a:pt x="3973762" y="1342950"/>
                    <a:pt x="3971034" y="2702953"/>
                    <a:pt x="3968307" y="4035268"/>
                  </a:cubicBezTo>
                  <a:lnTo>
                    <a:pt x="0" y="4035268"/>
                  </a:lnTo>
                </a:path>
              </a:pathLst>
            </a:custGeom>
            <a:solidFill>
              <a:srgbClr val="999999">
                <a:alpha val="1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 dirty="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</p:grp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D01CFF7D-B6F4-4B1B-9C6A-AB93A7AA88C1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698064" y="2144105"/>
            <a:ext cx="2930334" cy="163998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sz="1350">
                <a:solidFill>
                  <a:schemeClr val="tx1">
                    <a:lumMod val="75000"/>
                    <a:lumOff val="25000"/>
                  </a:schemeClr>
                </a:solidFill>
                <a:latin typeface="Asap" panose="02000506040000020004" pitchFamily="2" charset="0"/>
                <a:cs typeface="Arial" pitchFamily="34" charset="0"/>
                <a:sym typeface="Asap" panose="02000506040000020004" pitchFamily="2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41415038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yle slide layou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0EEB9D8-D1AE-4FFE-B3B0-2E394141C0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972182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6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0EEB9D8-D1AE-4FFE-B3B0-2E394141C0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: Shape 3">
            <a:extLst>
              <a:ext uri="{FF2B5EF4-FFF2-40B4-BE49-F238E27FC236}">
                <a16:creationId xmlns:a16="http://schemas.microsoft.com/office/drawing/2014/main" id="{2C54D7FD-BDA4-445B-8877-80F2FB48F04C}"/>
              </a:ext>
            </a:extLst>
          </p:cNvPr>
          <p:cNvSpPr/>
          <p:nvPr userDrawn="1"/>
        </p:nvSpPr>
        <p:spPr>
          <a:xfrm>
            <a:off x="219577" y="234616"/>
            <a:ext cx="5627771" cy="4728410"/>
          </a:xfrm>
          <a:custGeom>
            <a:avLst/>
            <a:gdLst>
              <a:gd name="connsiteX0" fmla="*/ 0 w 8066763"/>
              <a:gd name="connsiteY0" fmla="*/ 0 h 6304547"/>
              <a:gd name="connsiteX1" fmla="*/ 8066763 w 8066763"/>
              <a:gd name="connsiteY1" fmla="*/ 0 h 6304547"/>
              <a:gd name="connsiteX2" fmla="*/ 5597407 w 8066763"/>
              <a:gd name="connsiteY2" fmla="*/ 6304547 h 6304547"/>
              <a:gd name="connsiteX3" fmla="*/ 0 w 8066763"/>
              <a:gd name="connsiteY3" fmla="*/ 6304547 h 63045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066763" h="6304547">
                <a:moveTo>
                  <a:pt x="0" y="0"/>
                </a:moveTo>
                <a:lnTo>
                  <a:pt x="8066763" y="0"/>
                </a:lnTo>
                <a:lnTo>
                  <a:pt x="5597407" y="6304547"/>
                </a:lnTo>
                <a:lnTo>
                  <a:pt x="0" y="6304547"/>
                </a:lnTo>
                <a:close/>
              </a:path>
            </a:pathLst>
          </a:cu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050">
              <a:latin typeface="Asap" panose="02000506040000020004" pitchFamily="2" charset="0"/>
              <a:sym typeface="Asap" panose="0200050604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184370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1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05B9128-FC43-4286-8F86-EFE55DE20C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770558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0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05B9128-FC43-4286-8F86-EFE55DE20C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자유형: 도형 8">
            <a:extLst>
              <a:ext uri="{FF2B5EF4-FFF2-40B4-BE49-F238E27FC236}">
                <a16:creationId xmlns:a16="http://schemas.microsoft.com/office/drawing/2014/main" id="{C2ABD529-FE83-4068-B43D-09D8C61354D1}"/>
              </a:ext>
            </a:extLst>
          </p:cNvPr>
          <p:cNvSpPr>
            <a:spLocks noGrp="1"/>
          </p:cNvSpPr>
          <p:nvPr>
            <p:ph type="pic" idx="11" hasCustomPrompt="1"/>
          </p:nvPr>
        </p:nvSpPr>
        <p:spPr>
          <a:xfrm>
            <a:off x="1099576" y="634526"/>
            <a:ext cx="4147493" cy="4092257"/>
          </a:xfrm>
          <a:custGeom>
            <a:avLst/>
            <a:gdLst>
              <a:gd name="connsiteX0" fmla="*/ 5203477 w 5529990"/>
              <a:gd name="connsiteY0" fmla="*/ 4996820 h 5456343"/>
              <a:gd name="connsiteX1" fmla="*/ 5205385 w 5529990"/>
              <a:gd name="connsiteY1" fmla="*/ 4997961 h 5456343"/>
              <a:gd name="connsiteX2" fmla="*/ 5204062 w 5529990"/>
              <a:gd name="connsiteY2" fmla="*/ 4999290 h 5456343"/>
              <a:gd name="connsiteX3" fmla="*/ 3285288 w 5529990"/>
              <a:gd name="connsiteY3" fmla="*/ 850958 h 5456343"/>
              <a:gd name="connsiteX4" fmla="*/ 3285287 w 5529990"/>
              <a:gd name="connsiteY4" fmla="*/ 957889 h 5456343"/>
              <a:gd name="connsiteX5" fmla="*/ 3309883 w 5529990"/>
              <a:gd name="connsiteY5" fmla="*/ 964960 h 5456343"/>
              <a:gd name="connsiteX6" fmla="*/ 3342876 w 5529990"/>
              <a:gd name="connsiteY6" fmla="*/ 959101 h 5456343"/>
              <a:gd name="connsiteX7" fmla="*/ 3347625 w 5529990"/>
              <a:gd name="connsiteY7" fmla="*/ 953011 h 5456343"/>
              <a:gd name="connsiteX8" fmla="*/ 3340340 w 5529990"/>
              <a:gd name="connsiteY8" fmla="*/ 917595 h 5456343"/>
              <a:gd name="connsiteX9" fmla="*/ 3323433 w 5529990"/>
              <a:gd name="connsiteY9" fmla="*/ 872062 h 5456343"/>
              <a:gd name="connsiteX10" fmla="*/ 3302259 w 5529990"/>
              <a:gd name="connsiteY10" fmla="*/ 854999 h 5456343"/>
              <a:gd name="connsiteX11" fmla="*/ 97597 w 5529990"/>
              <a:gd name="connsiteY11" fmla="*/ 97597 h 5456343"/>
              <a:gd name="connsiteX12" fmla="*/ 97597 w 5529990"/>
              <a:gd name="connsiteY12" fmla="*/ 3380541 h 5456343"/>
              <a:gd name="connsiteX13" fmla="*/ 925476 w 5529990"/>
              <a:gd name="connsiteY13" fmla="*/ 3380541 h 5456343"/>
              <a:gd name="connsiteX14" fmla="*/ 946229 w 5529990"/>
              <a:gd name="connsiteY14" fmla="*/ 3355733 h 5456343"/>
              <a:gd name="connsiteX15" fmla="*/ 978940 w 5529990"/>
              <a:gd name="connsiteY15" fmla="*/ 3351467 h 5456343"/>
              <a:gd name="connsiteX16" fmla="*/ 1007525 w 5529990"/>
              <a:gd name="connsiteY16" fmla="*/ 3349520 h 5456343"/>
              <a:gd name="connsiteX17" fmla="*/ 1031564 w 5529990"/>
              <a:gd name="connsiteY17" fmla="*/ 3353683 h 5456343"/>
              <a:gd name="connsiteX18" fmla="*/ 1032954 w 5529990"/>
              <a:gd name="connsiteY18" fmla="*/ 3351929 h 5456343"/>
              <a:gd name="connsiteX19" fmla="*/ 1046660 w 5529990"/>
              <a:gd name="connsiteY19" fmla="*/ 3307002 h 5456343"/>
              <a:gd name="connsiteX20" fmla="*/ 1050343 w 5529990"/>
              <a:gd name="connsiteY20" fmla="*/ 3285495 h 5456343"/>
              <a:gd name="connsiteX21" fmla="*/ 1053485 w 5529990"/>
              <a:gd name="connsiteY21" fmla="*/ 3281034 h 5456343"/>
              <a:gd name="connsiteX22" fmla="*/ 213108 w 5529990"/>
              <a:gd name="connsiteY22" fmla="*/ 3281033 h 5456343"/>
              <a:gd name="connsiteX23" fmla="*/ 213107 w 5529990"/>
              <a:gd name="connsiteY23" fmla="*/ 208854 h 5456343"/>
              <a:gd name="connsiteX24" fmla="*/ 3285287 w 5529990"/>
              <a:gd name="connsiteY24" fmla="*/ 208854 h 5456343"/>
              <a:gd name="connsiteX25" fmla="*/ 3285287 w 5529990"/>
              <a:gd name="connsiteY25" fmla="*/ 805089 h 5456343"/>
              <a:gd name="connsiteX26" fmla="*/ 3285421 w 5529990"/>
              <a:gd name="connsiteY26" fmla="*/ 805084 h 5456343"/>
              <a:gd name="connsiteX27" fmla="*/ 3308726 w 5529990"/>
              <a:gd name="connsiteY27" fmla="*/ 825294 h 5456343"/>
              <a:gd name="connsiteX28" fmla="*/ 3343101 w 5529990"/>
              <a:gd name="connsiteY28" fmla="*/ 834936 h 5456343"/>
              <a:gd name="connsiteX29" fmla="*/ 3357542 w 5529990"/>
              <a:gd name="connsiteY29" fmla="*/ 829717 h 5456343"/>
              <a:gd name="connsiteX30" fmla="*/ 3389087 w 5529990"/>
              <a:gd name="connsiteY30" fmla="*/ 840123 h 5456343"/>
              <a:gd name="connsiteX31" fmla="*/ 3389087 w 5529990"/>
              <a:gd name="connsiteY31" fmla="*/ 97597 h 5456343"/>
              <a:gd name="connsiteX32" fmla="*/ 0 w 5529990"/>
              <a:gd name="connsiteY32" fmla="*/ 0 h 5456343"/>
              <a:gd name="connsiteX33" fmla="*/ 3486684 w 5529990"/>
              <a:gd name="connsiteY33" fmla="*/ 0 h 5456343"/>
              <a:gd name="connsiteX34" fmla="*/ 3486684 w 5529990"/>
              <a:gd name="connsiteY34" fmla="*/ 833838 h 5456343"/>
              <a:gd name="connsiteX35" fmla="*/ 3500172 w 5529990"/>
              <a:gd name="connsiteY35" fmla="*/ 834269 h 5456343"/>
              <a:gd name="connsiteX36" fmla="*/ 3516226 w 5529990"/>
              <a:gd name="connsiteY36" fmla="*/ 839003 h 5456343"/>
              <a:gd name="connsiteX37" fmla="*/ 3647545 w 5529990"/>
              <a:gd name="connsiteY37" fmla="*/ 866570 h 5456343"/>
              <a:gd name="connsiteX38" fmla="*/ 3662947 w 5529990"/>
              <a:gd name="connsiteY38" fmla="*/ 857912 h 5456343"/>
              <a:gd name="connsiteX39" fmla="*/ 3656762 w 5529990"/>
              <a:gd name="connsiteY39" fmla="*/ 846906 h 5456343"/>
              <a:gd name="connsiteX40" fmla="*/ 3515960 w 5529990"/>
              <a:gd name="connsiteY40" fmla="*/ 787015 h 5456343"/>
              <a:gd name="connsiteX41" fmla="*/ 3489147 w 5529990"/>
              <a:gd name="connsiteY41" fmla="*/ 770223 h 5456343"/>
              <a:gd name="connsiteX42" fmla="*/ 3498229 w 5529990"/>
              <a:gd name="connsiteY42" fmla="*/ 724565 h 5456343"/>
              <a:gd name="connsiteX43" fmla="*/ 3516829 w 5529990"/>
              <a:gd name="connsiteY43" fmla="*/ 717732 h 5456343"/>
              <a:gd name="connsiteX44" fmla="*/ 3531095 w 5529990"/>
              <a:gd name="connsiteY44" fmla="*/ 726369 h 5456343"/>
              <a:gd name="connsiteX45" fmla="*/ 3557357 w 5529990"/>
              <a:gd name="connsiteY45" fmla="*/ 731881 h 5456343"/>
              <a:gd name="connsiteX46" fmla="*/ 3581695 w 5529990"/>
              <a:gd name="connsiteY46" fmla="*/ 744271 h 5456343"/>
              <a:gd name="connsiteX47" fmla="*/ 3651817 w 5529990"/>
              <a:gd name="connsiteY47" fmla="*/ 791752 h 5456343"/>
              <a:gd name="connsiteX48" fmla="*/ 3701043 w 5529990"/>
              <a:gd name="connsiteY48" fmla="*/ 827808 h 5456343"/>
              <a:gd name="connsiteX49" fmla="*/ 3778589 w 5529990"/>
              <a:gd name="connsiteY49" fmla="*/ 888498 h 5456343"/>
              <a:gd name="connsiteX50" fmla="*/ 3870983 w 5529990"/>
              <a:gd name="connsiteY50" fmla="*/ 975599 h 5456343"/>
              <a:gd name="connsiteX51" fmla="*/ 3913472 w 5529990"/>
              <a:gd name="connsiteY51" fmla="*/ 989372 h 5456343"/>
              <a:gd name="connsiteX52" fmla="*/ 3940973 w 5529990"/>
              <a:gd name="connsiteY52" fmla="*/ 997085 h 5456343"/>
              <a:gd name="connsiteX53" fmla="*/ 3982772 w 5529990"/>
              <a:gd name="connsiteY53" fmla="*/ 1019936 h 5456343"/>
              <a:gd name="connsiteX54" fmla="*/ 3937964 w 5529990"/>
              <a:gd name="connsiteY54" fmla="*/ 888706 h 5456343"/>
              <a:gd name="connsiteX55" fmla="*/ 3899601 w 5529990"/>
              <a:gd name="connsiteY55" fmla="*/ 866821 h 5456343"/>
              <a:gd name="connsiteX56" fmla="*/ 3853267 w 5529990"/>
              <a:gd name="connsiteY56" fmla="*/ 820451 h 5456343"/>
              <a:gd name="connsiteX57" fmla="*/ 3829759 w 5529990"/>
              <a:gd name="connsiteY57" fmla="*/ 778630 h 5456343"/>
              <a:gd name="connsiteX58" fmla="*/ 3899474 w 5529990"/>
              <a:gd name="connsiteY58" fmla="*/ 794477 h 5456343"/>
              <a:gd name="connsiteX59" fmla="*/ 3949113 w 5529990"/>
              <a:gd name="connsiteY59" fmla="*/ 815817 h 5456343"/>
              <a:gd name="connsiteX60" fmla="*/ 3979087 w 5529990"/>
              <a:gd name="connsiteY60" fmla="*/ 827934 h 5456343"/>
              <a:gd name="connsiteX61" fmla="*/ 4029548 w 5529990"/>
              <a:gd name="connsiteY61" fmla="*/ 866192 h 5456343"/>
              <a:gd name="connsiteX62" fmla="*/ 4074646 w 5529990"/>
              <a:gd name="connsiteY62" fmla="*/ 910362 h 5456343"/>
              <a:gd name="connsiteX63" fmla="*/ 4111496 w 5529990"/>
              <a:gd name="connsiteY63" fmla="*/ 924407 h 5456343"/>
              <a:gd name="connsiteX64" fmla="*/ 4161957 w 5529990"/>
              <a:gd name="connsiteY64" fmla="*/ 962664 h 5456343"/>
              <a:gd name="connsiteX65" fmla="*/ 4131426 w 5529990"/>
              <a:gd name="connsiteY65" fmla="*/ 985620 h 5456343"/>
              <a:gd name="connsiteX66" fmla="*/ 4134857 w 5529990"/>
              <a:gd name="connsiteY66" fmla="*/ 1032933 h 5456343"/>
              <a:gd name="connsiteX67" fmla="*/ 4138703 w 5529990"/>
              <a:gd name="connsiteY67" fmla="*/ 1065530 h 5456343"/>
              <a:gd name="connsiteX68" fmla="*/ 4128249 w 5529990"/>
              <a:gd name="connsiteY68" fmla="*/ 1082993 h 5456343"/>
              <a:gd name="connsiteX69" fmla="*/ 4147363 w 5529990"/>
              <a:gd name="connsiteY69" fmla="*/ 1080938 h 5456343"/>
              <a:gd name="connsiteX70" fmla="*/ 4170738 w 5529990"/>
              <a:gd name="connsiteY70" fmla="*/ 1096765 h 5456343"/>
              <a:gd name="connsiteX71" fmla="*/ 4166471 w 5529990"/>
              <a:gd name="connsiteY71" fmla="*/ 1125234 h 5456343"/>
              <a:gd name="connsiteX72" fmla="*/ 4151337 w 5529990"/>
              <a:gd name="connsiteY72" fmla="*/ 1185880 h 5456343"/>
              <a:gd name="connsiteX73" fmla="*/ 4159309 w 5529990"/>
              <a:gd name="connsiteY73" fmla="*/ 1210365 h 5456343"/>
              <a:gd name="connsiteX74" fmla="*/ 4205665 w 5529990"/>
              <a:gd name="connsiteY74" fmla="*/ 1117687 h 5456343"/>
              <a:gd name="connsiteX75" fmla="*/ 4209517 w 5529990"/>
              <a:gd name="connsiteY75" fmla="*/ 1103935 h 5456343"/>
              <a:gd name="connsiteX76" fmla="*/ 4224918 w 5529990"/>
              <a:gd name="connsiteY76" fmla="*/ 1095278 h 5456343"/>
              <a:gd name="connsiteX77" fmla="*/ 4232341 w 5529990"/>
              <a:gd name="connsiteY77" fmla="*/ 1108484 h 5456343"/>
              <a:gd name="connsiteX78" fmla="*/ 4211843 w 5529990"/>
              <a:gd name="connsiteY78" fmla="*/ 1175042 h 5456343"/>
              <a:gd name="connsiteX79" fmla="*/ 4227373 w 5529990"/>
              <a:gd name="connsiteY79" fmla="*/ 1238729 h 5456343"/>
              <a:gd name="connsiteX80" fmla="*/ 4277010 w 5529990"/>
              <a:gd name="connsiteY80" fmla="*/ 1260069 h 5456343"/>
              <a:gd name="connsiteX81" fmla="*/ 4319914 w 5529990"/>
              <a:gd name="connsiteY81" fmla="*/ 1259126 h 5456343"/>
              <a:gd name="connsiteX82" fmla="*/ 4394024 w 5529990"/>
              <a:gd name="connsiteY82" fmla="*/ 1318850 h 5456343"/>
              <a:gd name="connsiteX83" fmla="*/ 4439529 w 5529990"/>
              <a:gd name="connsiteY83" fmla="*/ 1394653 h 5456343"/>
              <a:gd name="connsiteX84" fmla="*/ 4465896 w 5529990"/>
              <a:gd name="connsiteY84" fmla="*/ 1405900 h 5456343"/>
              <a:gd name="connsiteX85" fmla="*/ 4496792 w 5529990"/>
              <a:gd name="connsiteY85" fmla="*/ 1389917 h 5456343"/>
              <a:gd name="connsiteX86" fmla="*/ 4517002 w 5529990"/>
              <a:gd name="connsiteY86" fmla="*/ 1350259 h 5456343"/>
              <a:gd name="connsiteX87" fmla="*/ 4543362 w 5529990"/>
              <a:gd name="connsiteY87" fmla="*/ 1292820 h 5456343"/>
              <a:gd name="connsiteX88" fmla="*/ 4573307 w 5529990"/>
              <a:gd name="connsiteY88" fmla="*/ 1288454 h 5456343"/>
              <a:gd name="connsiteX89" fmla="*/ 4586211 w 5529990"/>
              <a:gd name="connsiteY89" fmla="*/ 1309822 h 5456343"/>
              <a:gd name="connsiteX90" fmla="*/ 4565007 w 5529990"/>
              <a:gd name="connsiteY90" fmla="*/ 1374097 h 5456343"/>
              <a:gd name="connsiteX91" fmla="*/ 4525037 w 5529990"/>
              <a:gd name="connsiteY91" fmla="*/ 1424592 h 5456343"/>
              <a:gd name="connsiteX92" fmla="*/ 4537809 w 5529990"/>
              <a:gd name="connsiteY92" fmla="*/ 1428478 h 5456343"/>
              <a:gd name="connsiteX93" fmla="*/ 4570157 w 5529990"/>
              <a:gd name="connsiteY93" fmla="*/ 1431296 h 5456343"/>
              <a:gd name="connsiteX94" fmla="*/ 4584183 w 5529990"/>
              <a:gd name="connsiteY94" fmla="*/ 1440791 h 5456343"/>
              <a:gd name="connsiteX95" fmla="*/ 4615797 w 5529990"/>
              <a:gd name="connsiteY95" fmla="*/ 1533093 h 5456343"/>
              <a:gd name="connsiteX96" fmla="*/ 4630077 w 5529990"/>
              <a:gd name="connsiteY96" fmla="*/ 1568154 h 5456343"/>
              <a:gd name="connsiteX97" fmla="*/ 4642622 w 5529990"/>
              <a:gd name="connsiteY97" fmla="*/ 1584865 h 5456343"/>
              <a:gd name="connsiteX98" fmla="*/ 4650392 w 5529990"/>
              <a:gd name="connsiteY98" fmla="*/ 1585335 h 5456343"/>
              <a:gd name="connsiteX99" fmla="*/ 4706855 w 5529990"/>
              <a:gd name="connsiteY99" fmla="*/ 1574900 h 5456343"/>
              <a:gd name="connsiteX100" fmla="*/ 4733741 w 5529990"/>
              <a:gd name="connsiteY100" fmla="*/ 1584777 h 5456343"/>
              <a:gd name="connsiteX101" fmla="*/ 4735707 w 5529990"/>
              <a:gd name="connsiteY101" fmla="*/ 1602394 h 5456343"/>
              <a:gd name="connsiteX102" fmla="*/ 4744256 w 5529990"/>
              <a:gd name="connsiteY102" fmla="*/ 1600647 h 5456343"/>
              <a:gd name="connsiteX103" fmla="*/ 4780936 w 5529990"/>
              <a:gd name="connsiteY103" fmla="*/ 1605372 h 5456343"/>
              <a:gd name="connsiteX104" fmla="*/ 4803756 w 5529990"/>
              <a:gd name="connsiteY104" fmla="*/ 1656271 h 5456343"/>
              <a:gd name="connsiteX105" fmla="*/ 4782161 w 5529990"/>
              <a:gd name="connsiteY105" fmla="*/ 1700274 h 5456343"/>
              <a:gd name="connsiteX106" fmla="*/ 4785999 w 5529990"/>
              <a:gd name="connsiteY106" fmla="*/ 1779221 h 5456343"/>
              <a:gd name="connsiteX107" fmla="*/ 4800847 w 5529990"/>
              <a:gd name="connsiteY107" fmla="*/ 1805635 h 5456343"/>
              <a:gd name="connsiteX108" fmla="*/ 4804501 w 5529990"/>
              <a:gd name="connsiteY108" fmla="*/ 1810637 h 5456343"/>
              <a:gd name="connsiteX109" fmla="*/ 4845375 w 5529990"/>
              <a:gd name="connsiteY109" fmla="*/ 1808249 h 5456343"/>
              <a:gd name="connsiteX110" fmla="*/ 4843969 w 5529990"/>
              <a:gd name="connsiteY110" fmla="*/ 1825149 h 5456343"/>
              <a:gd name="connsiteX111" fmla="*/ 4843929 w 5529990"/>
              <a:gd name="connsiteY111" fmla="*/ 1825206 h 5456343"/>
              <a:gd name="connsiteX112" fmla="*/ 4852839 w 5529990"/>
              <a:gd name="connsiteY112" fmla="*/ 1826013 h 5456343"/>
              <a:gd name="connsiteX113" fmla="*/ 4872074 w 5529990"/>
              <a:gd name="connsiteY113" fmla="*/ 1829323 h 5456343"/>
              <a:gd name="connsiteX114" fmla="*/ 4925096 w 5529990"/>
              <a:gd name="connsiteY114" fmla="*/ 1859262 h 5456343"/>
              <a:gd name="connsiteX115" fmla="*/ 4929808 w 5529990"/>
              <a:gd name="connsiteY115" fmla="*/ 1883858 h 5456343"/>
              <a:gd name="connsiteX116" fmla="*/ 4939343 w 5529990"/>
              <a:gd name="connsiteY116" fmla="*/ 1886966 h 5456343"/>
              <a:gd name="connsiteX117" fmla="*/ 4991962 w 5529990"/>
              <a:gd name="connsiteY117" fmla="*/ 1878897 h 5456343"/>
              <a:gd name="connsiteX118" fmla="*/ 5003950 w 5529990"/>
              <a:gd name="connsiteY118" fmla="*/ 1880575 h 5456343"/>
              <a:gd name="connsiteX119" fmla="*/ 4972381 w 5529990"/>
              <a:gd name="connsiteY119" fmla="*/ 1914056 h 5456343"/>
              <a:gd name="connsiteX120" fmla="*/ 4975836 w 5529990"/>
              <a:gd name="connsiteY120" fmla="*/ 1924321 h 5456343"/>
              <a:gd name="connsiteX121" fmla="*/ 5015575 w 5529990"/>
              <a:gd name="connsiteY121" fmla="*/ 2048343 h 5456343"/>
              <a:gd name="connsiteX122" fmla="*/ 5014612 w 5529990"/>
              <a:gd name="connsiteY122" fmla="*/ 2066816 h 5456343"/>
              <a:gd name="connsiteX123" fmla="*/ 5068869 w 5529990"/>
              <a:gd name="connsiteY123" fmla="*/ 2055795 h 5456343"/>
              <a:gd name="connsiteX124" fmla="*/ 5135512 w 5529990"/>
              <a:gd name="connsiteY124" fmla="*/ 2040422 h 5456343"/>
              <a:gd name="connsiteX125" fmla="*/ 5180616 w 5529990"/>
              <a:gd name="connsiteY125" fmla="*/ 2038241 h 5456343"/>
              <a:gd name="connsiteX126" fmla="*/ 5204265 w 5529990"/>
              <a:gd name="connsiteY126" fmla="*/ 2059708 h 5456343"/>
              <a:gd name="connsiteX127" fmla="*/ 5192160 w 5529990"/>
              <a:gd name="connsiteY127" fmla="*/ 2089685 h 5456343"/>
              <a:gd name="connsiteX128" fmla="*/ 5148842 w 5529990"/>
              <a:gd name="connsiteY128" fmla="*/ 2105345 h 5456343"/>
              <a:gd name="connsiteX129" fmla="*/ 5101673 w 5529990"/>
              <a:gd name="connsiteY129" fmla="*/ 2134757 h 5456343"/>
              <a:gd name="connsiteX130" fmla="*/ 5078431 w 5529990"/>
              <a:gd name="connsiteY130" fmla="*/ 2144923 h 5456343"/>
              <a:gd name="connsiteX131" fmla="*/ 5052563 w 5529990"/>
              <a:gd name="connsiteY131" fmla="*/ 2144620 h 5456343"/>
              <a:gd name="connsiteX132" fmla="*/ 5037286 w 5529990"/>
              <a:gd name="connsiteY132" fmla="*/ 2142869 h 5456343"/>
              <a:gd name="connsiteX133" fmla="*/ 5039213 w 5529990"/>
              <a:gd name="connsiteY133" fmla="*/ 2146539 h 5456343"/>
              <a:gd name="connsiteX134" fmla="*/ 5030489 w 5529990"/>
              <a:gd name="connsiteY134" fmla="*/ 2163045 h 5456343"/>
              <a:gd name="connsiteX135" fmla="*/ 5028179 w 5529990"/>
              <a:gd name="connsiteY135" fmla="*/ 2165369 h 5456343"/>
              <a:gd name="connsiteX136" fmla="*/ 5046078 w 5529990"/>
              <a:gd name="connsiteY136" fmla="*/ 2171076 h 5456343"/>
              <a:gd name="connsiteX137" fmla="*/ 5093139 w 5529990"/>
              <a:gd name="connsiteY137" fmla="*/ 2191692 h 5456343"/>
              <a:gd name="connsiteX138" fmla="*/ 5123662 w 5529990"/>
              <a:gd name="connsiteY138" fmla="*/ 2215086 h 5456343"/>
              <a:gd name="connsiteX139" fmla="*/ 5128611 w 5529990"/>
              <a:gd name="connsiteY139" fmla="*/ 2223892 h 5456343"/>
              <a:gd name="connsiteX140" fmla="*/ 5228422 w 5529990"/>
              <a:gd name="connsiteY140" fmla="*/ 2370550 h 5456343"/>
              <a:gd name="connsiteX141" fmla="*/ 5228697 w 5529990"/>
              <a:gd name="connsiteY141" fmla="*/ 2376188 h 5456343"/>
              <a:gd name="connsiteX142" fmla="*/ 5262652 w 5529990"/>
              <a:gd name="connsiteY142" fmla="*/ 2446897 h 5456343"/>
              <a:gd name="connsiteX143" fmla="*/ 5299355 w 5529990"/>
              <a:gd name="connsiteY143" fmla="*/ 2527647 h 5456343"/>
              <a:gd name="connsiteX144" fmla="*/ 5348719 w 5529990"/>
              <a:gd name="connsiteY144" fmla="*/ 2543349 h 5456343"/>
              <a:gd name="connsiteX145" fmla="*/ 5393408 w 5529990"/>
              <a:gd name="connsiteY145" fmla="*/ 2555885 h 5456343"/>
              <a:gd name="connsiteX146" fmla="*/ 5407160 w 5529990"/>
              <a:gd name="connsiteY146" fmla="*/ 2559743 h 5456343"/>
              <a:gd name="connsiteX147" fmla="*/ 5472613 w 5529990"/>
              <a:gd name="connsiteY147" fmla="*/ 2557709 h 5456343"/>
              <a:gd name="connsiteX148" fmla="*/ 5485949 w 5529990"/>
              <a:gd name="connsiteY148" fmla="*/ 2576283 h 5456343"/>
              <a:gd name="connsiteX149" fmla="*/ 5476734 w 5529990"/>
              <a:gd name="connsiteY149" fmla="*/ 2595946 h 5456343"/>
              <a:gd name="connsiteX150" fmla="*/ 5490484 w 5529990"/>
              <a:gd name="connsiteY150" fmla="*/ 2599804 h 5456343"/>
              <a:gd name="connsiteX151" fmla="*/ 5519497 w 5529990"/>
              <a:gd name="connsiteY151" fmla="*/ 2615358 h 5456343"/>
              <a:gd name="connsiteX152" fmla="*/ 5529803 w 5529990"/>
              <a:gd name="connsiteY152" fmla="*/ 2664600 h 5456343"/>
              <a:gd name="connsiteX153" fmla="*/ 5499679 w 5529990"/>
              <a:gd name="connsiteY153" fmla="*/ 2719188 h 5456343"/>
              <a:gd name="connsiteX154" fmla="*/ 5457599 w 5529990"/>
              <a:gd name="connsiteY154" fmla="*/ 2737049 h 5456343"/>
              <a:gd name="connsiteX155" fmla="*/ 5390773 w 5529990"/>
              <a:gd name="connsiteY155" fmla="*/ 2710887 h 5456343"/>
              <a:gd name="connsiteX156" fmla="*/ 5381838 w 5529990"/>
              <a:gd name="connsiteY156" fmla="*/ 2689840 h 5456343"/>
              <a:gd name="connsiteX157" fmla="*/ 5381571 w 5529990"/>
              <a:gd name="connsiteY157" fmla="*/ 2637851 h 5456343"/>
              <a:gd name="connsiteX158" fmla="*/ 5289992 w 5529990"/>
              <a:gd name="connsiteY158" fmla="*/ 2614017 h 5456343"/>
              <a:gd name="connsiteX159" fmla="*/ 5259180 w 5529990"/>
              <a:gd name="connsiteY159" fmla="*/ 2677681 h 5456343"/>
              <a:gd name="connsiteX160" fmla="*/ 5222176 w 5529990"/>
              <a:gd name="connsiteY160" fmla="*/ 2776691 h 5456343"/>
              <a:gd name="connsiteX161" fmla="*/ 5205122 w 5529990"/>
              <a:gd name="connsiteY161" fmla="*/ 2797863 h 5456343"/>
              <a:gd name="connsiteX162" fmla="*/ 5159054 w 5529990"/>
              <a:gd name="connsiteY162" fmla="*/ 2803482 h 5456343"/>
              <a:gd name="connsiteX163" fmla="*/ 5134992 w 5529990"/>
              <a:gd name="connsiteY163" fmla="*/ 2796732 h 5456343"/>
              <a:gd name="connsiteX164" fmla="*/ 5042589 w 5529990"/>
              <a:gd name="connsiteY164" fmla="*/ 2755979 h 5456343"/>
              <a:gd name="connsiteX165" fmla="*/ 5027187 w 5529990"/>
              <a:gd name="connsiteY165" fmla="*/ 2764637 h 5456343"/>
              <a:gd name="connsiteX166" fmla="*/ 5017692 w 5529990"/>
              <a:gd name="connsiteY166" fmla="*/ 2825011 h 5456343"/>
              <a:gd name="connsiteX167" fmla="*/ 4929276 w 5529990"/>
              <a:gd name="connsiteY167" fmla="*/ 2796501 h 5456343"/>
              <a:gd name="connsiteX168" fmla="*/ 4898064 w 5529990"/>
              <a:gd name="connsiteY168" fmla="*/ 2782184 h 5456343"/>
              <a:gd name="connsiteX169" fmla="*/ 4888987 w 5529990"/>
              <a:gd name="connsiteY169" fmla="*/ 2781492 h 5456343"/>
              <a:gd name="connsiteX170" fmla="*/ 4828476 w 5529990"/>
              <a:gd name="connsiteY170" fmla="*/ 2838679 h 5456343"/>
              <a:gd name="connsiteX171" fmla="*/ 4792012 w 5529990"/>
              <a:gd name="connsiteY171" fmla="*/ 2995316 h 5456343"/>
              <a:gd name="connsiteX172" fmla="*/ 4799984 w 5529990"/>
              <a:gd name="connsiteY172" fmla="*/ 3019801 h 5456343"/>
              <a:gd name="connsiteX173" fmla="*/ 4837243 w 5529990"/>
              <a:gd name="connsiteY173" fmla="*/ 3065480 h 5456343"/>
              <a:gd name="connsiteX174" fmla="*/ 4841777 w 5529990"/>
              <a:gd name="connsiteY174" fmla="*/ 3089001 h 5456343"/>
              <a:gd name="connsiteX175" fmla="*/ 4860050 w 5529990"/>
              <a:gd name="connsiteY175" fmla="*/ 3209077 h 5456343"/>
              <a:gd name="connsiteX176" fmla="*/ 4861834 w 5529990"/>
              <a:gd name="connsiteY176" fmla="*/ 3222557 h 5456343"/>
              <a:gd name="connsiteX177" fmla="*/ 4816322 w 5529990"/>
              <a:gd name="connsiteY177" fmla="*/ 3193104 h 5456343"/>
              <a:gd name="connsiteX178" fmla="*/ 4699177 w 5529990"/>
              <a:gd name="connsiteY178" fmla="*/ 3108328 h 5456343"/>
              <a:gd name="connsiteX179" fmla="*/ 4644723 w 5529990"/>
              <a:gd name="connsiteY179" fmla="*/ 3104179 h 5456343"/>
              <a:gd name="connsiteX180" fmla="*/ 4540752 w 5529990"/>
              <a:gd name="connsiteY180" fmla="*/ 3197380 h 5456343"/>
              <a:gd name="connsiteX181" fmla="*/ 4544184 w 5529990"/>
              <a:gd name="connsiteY181" fmla="*/ 3244695 h 5456343"/>
              <a:gd name="connsiteX182" fmla="*/ 4596283 w 5529990"/>
              <a:gd name="connsiteY182" fmla="*/ 3363136 h 5456343"/>
              <a:gd name="connsiteX183" fmla="*/ 4610716 w 5529990"/>
              <a:gd name="connsiteY183" fmla="*/ 3404267 h 5456343"/>
              <a:gd name="connsiteX184" fmla="*/ 4739666 w 5529990"/>
              <a:gd name="connsiteY184" fmla="*/ 3638823 h 5456343"/>
              <a:gd name="connsiteX185" fmla="*/ 4782837 w 5529990"/>
              <a:gd name="connsiteY185" fmla="*/ 3689868 h 5456343"/>
              <a:gd name="connsiteX186" fmla="*/ 4815006 w 5529990"/>
              <a:gd name="connsiteY186" fmla="*/ 3747099 h 5456343"/>
              <a:gd name="connsiteX187" fmla="*/ 4829032 w 5529990"/>
              <a:gd name="connsiteY187" fmla="*/ 3756594 h 5456343"/>
              <a:gd name="connsiteX188" fmla="*/ 4837004 w 5529990"/>
              <a:gd name="connsiteY188" fmla="*/ 3781080 h 5456343"/>
              <a:gd name="connsiteX189" fmla="*/ 4809775 w 5529990"/>
              <a:gd name="connsiteY189" fmla="*/ 3779005 h 5456343"/>
              <a:gd name="connsiteX190" fmla="*/ 4786128 w 5529990"/>
              <a:gd name="connsiteY190" fmla="*/ 3757537 h 5456343"/>
              <a:gd name="connsiteX191" fmla="*/ 4725360 w 5529990"/>
              <a:gd name="connsiteY191" fmla="*/ 3670038 h 5456343"/>
              <a:gd name="connsiteX192" fmla="*/ 4594209 w 5529990"/>
              <a:gd name="connsiteY192" fmla="*/ 3436718 h 5456343"/>
              <a:gd name="connsiteX193" fmla="*/ 4558738 w 5529990"/>
              <a:gd name="connsiteY193" fmla="*/ 3404519 h 5456343"/>
              <a:gd name="connsiteX194" fmla="*/ 4480507 w 5529990"/>
              <a:gd name="connsiteY194" fmla="*/ 3306558 h 5456343"/>
              <a:gd name="connsiteX195" fmla="*/ 4381231 w 5529990"/>
              <a:gd name="connsiteY195" fmla="*/ 3263877 h 5456343"/>
              <a:gd name="connsiteX196" fmla="*/ 4271213 w 5529990"/>
              <a:gd name="connsiteY196" fmla="*/ 3325719 h 5456343"/>
              <a:gd name="connsiteX197" fmla="*/ 4243839 w 5529990"/>
              <a:gd name="connsiteY197" fmla="*/ 3390348 h 5456343"/>
              <a:gd name="connsiteX198" fmla="*/ 4245828 w 5529990"/>
              <a:gd name="connsiteY198" fmla="*/ 3431231 h 5456343"/>
              <a:gd name="connsiteX199" fmla="*/ 4249487 w 5529990"/>
              <a:gd name="connsiteY199" fmla="*/ 3458234 h 5456343"/>
              <a:gd name="connsiteX200" fmla="*/ 4268459 w 5529990"/>
              <a:gd name="connsiteY200" fmla="*/ 3485180 h 5456343"/>
              <a:gd name="connsiteX201" fmla="*/ 4301641 w 5529990"/>
              <a:gd name="connsiteY201" fmla="*/ 3549872 h 5456343"/>
              <a:gd name="connsiteX202" fmla="*/ 4327699 w 5529990"/>
              <a:gd name="connsiteY202" fmla="*/ 3562381 h 5456343"/>
              <a:gd name="connsiteX203" fmla="*/ 4443283 w 5529990"/>
              <a:gd name="connsiteY203" fmla="*/ 3566565 h 5456343"/>
              <a:gd name="connsiteX204" fmla="*/ 4362331 w 5529990"/>
              <a:gd name="connsiteY204" fmla="*/ 3599313 h 5456343"/>
              <a:gd name="connsiteX205" fmla="*/ 4297508 w 5529990"/>
              <a:gd name="connsiteY205" fmla="*/ 3698587 h 5456343"/>
              <a:gd name="connsiteX206" fmla="*/ 4338953 w 5529990"/>
              <a:gd name="connsiteY206" fmla="*/ 3730240 h 5456343"/>
              <a:gd name="connsiteX207" fmla="*/ 4372142 w 5529990"/>
              <a:gd name="connsiteY207" fmla="*/ 3730140 h 5456343"/>
              <a:gd name="connsiteX208" fmla="*/ 4336403 w 5529990"/>
              <a:gd name="connsiteY208" fmla="*/ 3760011 h 5456343"/>
              <a:gd name="connsiteX209" fmla="*/ 4322595 w 5529990"/>
              <a:gd name="connsiteY209" fmla="*/ 3786514 h 5456343"/>
              <a:gd name="connsiteX210" fmla="*/ 4384277 w 5529990"/>
              <a:gd name="connsiteY210" fmla="*/ 3871702 h 5456343"/>
              <a:gd name="connsiteX211" fmla="*/ 4434476 w 5529990"/>
              <a:gd name="connsiteY211" fmla="*/ 3911831 h 5456343"/>
              <a:gd name="connsiteX212" fmla="*/ 4475830 w 5529990"/>
              <a:gd name="connsiteY212" fmla="*/ 3992604 h 5456343"/>
              <a:gd name="connsiteX213" fmla="*/ 4523073 w 5529990"/>
              <a:gd name="connsiteY213" fmla="*/ 4036659 h 5456343"/>
              <a:gd name="connsiteX214" fmla="*/ 4538122 w 5529990"/>
              <a:gd name="connsiteY214" fmla="*/ 4034264 h 5456343"/>
              <a:gd name="connsiteX215" fmla="*/ 4501368 w 5529990"/>
              <a:gd name="connsiteY215" fmla="*/ 4081817 h 5456343"/>
              <a:gd name="connsiteX216" fmla="*/ 4473367 w 5529990"/>
              <a:gd name="connsiteY216" fmla="*/ 4137847 h 5456343"/>
              <a:gd name="connsiteX217" fmla="*/ 4497959 w 5529990"/>
              <a:gd name="connsiteY217" fmla="*/ 4166752 h 5456343"/>
              <a:gd name="connsiteX218" fmla="*/ 4539336 w 5529990"/>
              <a:gd name="connsiteY218" fmla="*/ 4194097 h 5456343"/>
              <a:gd name="connsiteX219" fmla="*/ 4517947 w 5529990"/>
              <a:gd name="connsiteY219" fmla="*/ 4231925 h 5456343"/>
              <a:gd name="connsiteX220" fmla="*/ 4508696 w 5529990"/>
              <a:gd name="connsiteY220" fmla="*/ 4246722 h 5456343"/>
              <a:gd name="connsiteX221" fmla="*/ 4532701 w 5529990"/>
              <a:gd name="connsiteY221" fmla="*/ 4265727 h 5456343"/>
              <a:gd name="connsiteX222" fmla="*/ 4569138 w 5529990"/>
              <a:gd name="connsiteY222" fmla="*/ 4307801 h 5456343"/>
              <a:gd name="connsiteX223" fmla="*/ 4581251 w 5529990"/>
              <a:gd name="connsiteY223" fmla="*/ 4356204 h 5456343"/>
              <a:gd name="connsiteX224" fmla="*/ 4581479 w 5529990"/>
              <a:gd name="connsiteY224" fmla="*/ 4355344 h 5456343"/>
              <a:gd name="connsiteX225" fmla="*/ 4587279 w 5529990"/>
              <a:gd name="connsiteY225" fmla="*/ 4351160 h 5456343"/>
              <a:gd name="connsiteX226" fmla="*/ 4644474 w 5529990"/>
              <a:gd name="connsiteY226" fmla="*/ 4303653 h 5456343"/>
              <a:gd name="connsiteX227" fmla="*/ 4741598 w 5529990"/>
              <a:gd name="connsiteY227" fmla="*/ 4274501 h 5456343"/>
              <a:gd name="connsiteX228" fmla="*/ 4775052 w 5529990"/>
              <a:gd name="connsiteY228" fmla="*/ 4260465 h 5456343"/>
              <a:gd name="connsiteX229" fmla="*/ 4822535 w 5529990"/>
              <a:gd name="connsiteY229" fmla="*/ 4263704 h 5456343"/>
              <a:gd name="connsiteX230" fmla="*/ 4862464 w 5529990"/>
              <a:gd name="connsiteY230" fmla="*/ 4268023 h 5456343"/>
              <a:gd name="connsiteX231" fmla="*/ 4878651 w 5529990"/>
              <a:gd name="connsiteY231" fmla="*/ 4266943 h 5456343"/>
              <a:gd name="connsiteX232" fmla="*/ 4952034 w 5529990"/>
              <a:gd name="connsiteY232" fmla="*/ 4330645 h 5456343"/>
              <a:gd name="connsiteX233" fmla="*/ 4987646 w 5529990"/>
              <a:gd name="connsiteY233" fmla="*/ 4391109 h 5456343"/>
              <a:gd name="connsiteX234" fmla="*/ 5046999 w 5529990"/>
              <a:gd name="connsiteY234" fmla="*/ 4436456 h 5456343"/>
              <a:gd name="connsiteX235" fmla="*/ 5058870 w 5529990"/>
              <a:gd name="connsiteY235" fmla="*/ 4429978 h 5456343"/>
              <a:gd name="connsiteX236" fmla="*/ 5134411 w 5529990"/>
              <a:gd name="connsiteY236" fmla="*/ 4366276 h 5456343"/>
              <a:gd name="connsiteX237" fmla="*/ 5151678 w 5529990"/>
              <a:gd name="connsiteY237" fmla="*/ 4357638 h 5456343"/>
              <a:gd name="connsiteX238" fmla="*/ 5205636 w 5529990"/>
              <a:gd name="connsiteY238" fmla="*/ 4349000 h 5456343"/>
              <a:gd name="connsiteX239" fmla="*/ 5268226 w 5529990"/>
              <a:gd name="connsiteY239" fmla="*/ 4333885 h 5456343"/>
              <a:gd name="connsiteX240" fmla="*/ 5294126 w 5529990"/>
              <a:gd name="connsiteY240" fmla="*/ 4334964 h 5456343"/>
              <a:gd name="connsiteX241" fmla="*/ 5433338 w 5529990"/>
              <a:gd name="connsiteY241" fmla="*/ 4392189 h 5456343"/>
              <a:gd name="connsiteX242" fmla="*/ 5441971 w 5529990"/>
              <a:gd name="connsiteY242" fmla="*/ 4402986 h 5456343"/>
              <a:gd name="connsiteX243" fmla="*/ 5473266 w 5529990"/>
              <a:gd name="connsiteY243" fmla="*/ 4468847 h 5456343"/>
              <a:gd name="connsiteX244" fmla="*/ 5481899 w 5529990"/>
              <a:gd name="connsiteY244" fmla="*/ 4496919 h 5456343"/>
              <a:gd name="connsiteX245" fmla="*/ 5492691 w 5529990"/>
              <a:gd name="connsiteY245" fmla="*/ 4544426 h 5456343"/>
              <a:gd name="connsiteX246" fmla="*/ 5523987 w 5529990"/>
              <a:gd name="connsiteY246" fmla="*/ 4580056 h 5456343"/>
              <a:gd name="connsiteX247" fmla="*/ 5529787 w 5529990"/>
              <a:gd name="connsiteY247" fmla="*/ 4596252 h 5456343"/>
              <a:gd name="connsiteX248" fmla="*/ 5515353 w 5529990"/>
              <a:gd name="connsiteY248" fmla="*/ 4605969 h 5456343"/>
              <a:gd name="connsiteX249" fmla="*/ 5502403 w 5529990"/>
              <a:gd name="connsiteY249" fmla="*/ 4609208 h 5456343"/>
              <a:gd name="connsiteX250" fmla="*/ 5487295 w 5529990"/>
              <a:gd name="connsiteY250" fmla="*/ 4618925 h 5456343"/>
              <a:gd name="connsiteX251" fmla="*/ 5497008 w 5529990"/>
              <a:gd name="connsiteY251" fmla="*/ 4632961 h 5456343"/>
              <a:gd name="connsiteX252" fmla="*/ 5491612 w 5529990"/>
              <a:gd name="connsiteY252" fmla="*/ 4665352 h 5456343"/>
              <a:gd name="connsiteX253" fmla="*/ 5477583 w 5529990"/>
              <a:gd name="connsiteY253" fmla="*/ 4671830 h 5456343"/>
              <a:gd name="connsiteX254" fmla="*/ 5470029 w 5529990"/>
              <a:gd name="connsiteY254" fmla="*/ 4691265 h 5456343"/>
              <a:gd name="connsiteX255" fmla="*/ 5488374 w 5529990"/>
              <a:gd name="connsiteY255" fmla="*/ 4698823 h 5456343"/>
              <a:gd name="connsiteX256" fmla="*/ 5504696 w 5529990"/>
              <a:gd name="connsiteY256" fmla="*/ 4697004 h 5456343"/>
              <a:gd name="connsiteX257" fmla="*/ 5420769 w 5529990"/>
              <a:gd name="connsiteY257" fmla="*/ 4781392 h 5456343"/>
              <a:gd name="connsiteX258" fmla="*/ 5413913 w 5529990"/>
              <a:gd name="connsiteY258" fmla="*/ 4776562 h 5456343"/>
              <a:gd name="connsiteX259" fmla="*/ 5393409 w 5529990"/>
              <a:gd name="connsiteY259" fmla="*/ 4786279 h 5456343"/>
              <a:gd name="connsiteX260" fmla="*/ 5384776 w 5529990"/>
              <a:gd name="connsiteY260" fmla="*/ 4805713 h 5456343"/>
              <a:gd name="connsiteX261" fmla="*/ 5358876 w 5529990"/>
              <a:gd name="connsiteY261" fmla="*/ 4818670 h 5456343"/>
              <a:gd name="connsiteX262" fmla="*/ 5275781 w 5529990"/>
              <a:gd name="connsiteY262" fmla="*/ 4860778 h 5456343"/>
              <a:gd name="connsiteX263" fmla="*/ 5263910 w 5529990"/>
              <a:gd name="connsiteY263" fmla="*/ 4875894 h 5456343"/>
              <a:gd name="connsiteX264" fmla="*/ 5250960 w 5529990"/>
              <a:gd name="connsiteY264" fmla="*/ 4855379 h 5456343"/>
              <a:gd name="connsiteX265" fmla="*/ 5250960 w 5529990"/>
              <a:gd name="connsiteY265" fmla="*/ 4852140 h 5456343"/>
              <a:gd name="connsiteX266" fmla="*/ 5214269 w 5529990"/>
              <a:gd name="connsiteY266" fmla="*/ 4831626 h 5456343"/>
              <a:gd name="connsiteX267" fmla="*/ 5163548 w 5529990"/>
              <a:gd name="connsiteY267" fmla="*/ 4829467 h 5456343"/>
              <a:gd name="connsiteX268" fmla="*/ 5092324 w 5529990"/>
              <a:gd name="connsiteY268" fmla="*/ 4811112 h 5456343"/>
              <a:gd name="connsiteX269" fmla="*/ 5072899 w 5529990"/>
              <a:gd name="connsiteY269" fmla="*/ 4794916 h 5456343"/>
              <a:gd name="connsiteX270" fmla="*/ 5016783 w 5529990"/>
              <a:gd name="connsiteY270" fmla="*/ 4750649 h 5456343"/>
              <a:gd name="connsiteX271" fmla="*/ 5007071 w 5529990"/>
              <a:gd name="connsiteY271" fmla="*/ 4724736 h 5456343"/>
              <a:gd name="connsiteX272" fmla="*/ 4975775 w 5529990"/>
              <a:gd name="connsiteY272" fmla="*/ 4617845 h 5456343"/>
              <a:gd name="connsiteX273" fmla="*/ 4952034 w 5529990"/>
              <a:gd name="connsiteY273" fmla="*/ 4617845 h 5456343"/>
              <a:gd name="connsiteX274" fmla="*/ 4948796 w 5529990"/>
              <a:gd name="connsiteY274" fmla="*/ 4645918 h 5456343"/>
              <a:gd name="connsiteX275" fmla="*/ 4961746 w 5529990"/>
              <a:gd name="connsiteY275" fmla="*/ 4665352 h 5456343"/>
              <a:gd name="connsiteX276" fmla="*/ 4963904 w 5529990"/>
              <a:gd name="connsiteY276" fmla="*/ 4683708 h 5456343"/>
              <a:gd name="connsiteX277" fmla="*/ 4944480 w 5529990"/>
              <a:gd name="connsiteY277" fmla="*/ 4680468 h 5456343"/>
              <a:gd name="connsiteX278" fmla="*/ 4930451 w 5529990"/>
              <a:gd name="connsiteY278" fmla="*/ 4665352 h 5456343"/>
              <a:gd name="connsiteX279" fmla="*/ 4896997 w 5529990"/>
              <a:gd name="connsiteY279" fmla="*/ 4659954 h 5456343"/>
              <a:gd name="connsiteX280" fmla="*/ 4903472 w 5529990"/>
              <a:gd name="connsiteY280" fmla="*/ 4689106 h 5456343"/>
              <a:gd name="connsiteX281" fmla="*/ 4921817 w 5529990"/>
              <a:gd name="connsiteY281" fmla="*/ 4711780 h 5456343"/>
              <a:gd name="connsiteX282" fmla="*/ 4907788 w 5529990"/>
              <a:gd name="connsiteY282" fmla="*/ 4733374 h 5456343"/>
              <a:gd name="connsiteX283" fmla="*/ 4846276 w 5529990"/>
              <a:gd name="connsiteY283" fmla="*/ 4709620 h 5456343"/>
              <a:gd name="connsiteX284" fmla="*/ 4786923 w 5529990"/>
              <a:gd name="connsiteY284" fmla="*/ 4709620 h 5456343"/>
              <a:gd name="connsiteX285" fmla="*/ 4763181 w 5529990"/>
              <a:gd name="connsiteY285" fmla="*/ 4731214 h 5456343"/>
              <a:gd name="connsiteX286" fmla="*/ 4751311 w 5529990"/>
              <a:gd name="connsiteY286" fmla="*/ 4737692 h 5456343"/>
              <a:gd name="connsiteX287" fmla="*/ 4744836 w 5529990"/>
              <a:gd name="connsiteY287" fmla="*/ 4725816 h 5456343"/>
              <a:gd name="connsiteX288" fmla="*/ 4723252 w 5529990"/>
              <a:gd name="connsiteY288" fmla="*/ 4703142 h 5456343"/>
              <a:gd name="connsiteX289" fmla="*/ 4674690 w 5529990"/>
              <a:gd name="connsiteY289" fmla="*/ 4675069 h 5456343"/>
              <a:gd name="connsiteX290" fmla="*/ 4648790 w 5529990"/>
              <a:gd name="connsiteY290" fmla="*/ 4673990 h 5456343"/>
              <a:gd name="connsiteX291" fmla="*/ 4631524 w 5529990"/>
              <a:gd name="connsiteY291" fmla="*/ 4682628 h 5456343"/>
              <a:gd name="connsiteX292" fmla="*/ 4619653 w 5529990"/>
              <a:gd name="connsiteY292" fmla="*/ 4664272 h 5456343"/>
              <a:gd name="connsiteX293" fmla="*/ 4617495 w 5529990"/>
              <a:gd name="connsiteY293" fmla="*/ 4649157 h 5456343"/>
              <a:gd name="connsiteX294" fmla="*/ 4590179 w 5529990"/>
              <a:gd name="connsiteY294" fmla="*/ 4622282 h 5456343"/>
              <a:gd name="connsiteX295" fmla="*/ 4586817 w 5529990"/>
              <a:gd name="connsiteY295" fmla="*/ 4623974 h 5456343"/>
              <a:gd name="connsiteX296" fmla="*/ 4584630 w 5529990"/>
              <a:gd name="connsiteY296" fmla="*/ 4635875 h 5456343"/>
              <a:gd name="connsiteX297" fmla="*/ 4531541 w 5529990"/>
              <a:gd name="connsiteY297" fmla="*/ 4686274 h 5456343"/>
              <a:gd name="connsiteX298" fmla="*/ 4492463 w 5529990"/>
              <a:gd name="connsiteY298" fmla="*/ 4723091 h 5456343"/>
              <a:gd name="connsiteX299" fmla="*/ 4462206 w 5529990"/>
              <a:gd name="connsiteY299" fmla="*/ 4772694 h 5456343"/>
              <a:gd name="connsiteX300" fmla="*/ 4452007 w 5529990"/>
              <a:gd name="connsiteY300" fmla="*/ 4809481 h 5456343"/>
              <a:gd name="connsiteX301" fmla="*/ 4457827 w 5529990"/>
              <a:gd name="connsiteY301" fmla="*/ 4850751 h 5456343"/>
              <a:gd name="connsiteX302" fmla="*/ 4471025 w 5529990"/>
              <a:gd name="connsiteY302" fmla="*/ 4867775 h 5456343"/>
              <a:gd name="connsiteX303" fmla="*/ 4503311 w 5529990"/>
              <a:gd name="connsiteY303" fmla="*/ 4865104 h 5456343"/>
              <a:gd name="connsiteX304" fmla="*/ 4538327 w 5529990"/>
              <a:gd name="connsiteY304" fmla="*/ 4899014 h 5456343"/>
              <a:gd name="connsiteX305" fmla="*/ 4528782 w 5529990"/>
              <a:gd name="connsiteY305" fmla="*/ 4950009 h 5456343"/>
              <a:gd name="connsiteX306" fmla="*/ 4490855 w 5529990"/>
              <a:gd name="connsiteY306" fmla="*/ 4977760 h 5456343"/>
              <a:gd name="connsiteX307" fmla="*/ 4473436 w 5529990"/>
              <a:gd name="connsiteY307" fmla="*/ 4993981 h 5456343"/>
              <a:gd name="connsiteX308" fmla="*/ 4496877 w 5529990"/>
              <a:gd name="connsiteY308" fmla="*/ 5031953 h 5456343"/>
              <a:gd name="connsiteX309" fmla="*/ 4502473 w 5529990"/>
              <a:gd name="connsiteY309" fmla="*/ 5031433 h 5456343"/>
              <a:gd name="connsiteX310" fmla="*/ 4538301 w 5529990"/>
              <a:gd name="connsiteY310" fmla="*/ 5034738 h 5456343"/>
              <a:gd name="connsiteX311" fmla="*/ 4541751 w 5529990"/>
              <a:gd name="connsiteY311" fmla="*/ 5089834 h 5456343"/>
              <a:gd name="connsiteX312" fmla="*/ 4511743 w 5529990"/>
              <a:gd name="connsiteY312" fmla="*/ 5127799 h 5456343"/>
              <a:gd name="connsiteX313" fmla="*/ 4485820 w 5529990"/>
              <a:gd name="connsiteY313" fmla="*/ 5123905 h 5456343"/>
              <a:gd name="connsiteX314" fmla="*/ 4473208 w 5529990"/>
              <a:gd name="connsiteY314" fmla="*/ 5116782 h 5456343"/>
              <a:gd name="connsiteX315" fmla="*/ 4466980 w 5529990"/>
              <a:gd name="connsiteY315" fmla="*/ 5131962 h 5456343"/>
              <a:gd name="connsiteX316" fmla="*/ 4474335 w 5529990"/>
              <a:gd name="connsiteY316" fmla="*/ 5161144 h 5456343"/>
              <a:gd name="connsiteX317" fmla="*/ 4432436 w 5529990"/>
              <a:gd name="connsiteY317" fmla="*/ 5210502 h 5456343"/>
              <a:gd name="connsiteX318" fmla="*/ 4422080 w 5529990"/>
              <a:gd name="connsiteY318" fmla="*/ 5209806 h 5456343"/>
              <a:gd name="connsiteX319" fmla="*/ 4363328 w 5529990"/>
              <a:gd name="connsiteY319" fmla="*/ 5256417 h 5456343"/>
              <a:gd name="connsiteX320" fmla="*/ 4335441 w 5529990"/>
              <a:gd name="connsiteY320" fmla="*/ 5292194 h 5456343"/>
              <a:gd name="connsiteX321" fmla="*/ 4315316 w 5529990"/>
              <a:gd name="connsiteY321" fmla="*/ 5300702 h 5456343"/>
              <a:gd name="connsiteX322" fmla="*/ 4258458 w 5529990"/>
              <a:gd name="connsiteY322" fmla="*/ 5385631 h 5456343"/>
              <a:gd name="connsiteX323" fmla="*/ 4253222 w 5529990"/>
              <a:gd name="connsiteY323" fmla="*/ 5436557 h 5456343"/>
              <a:gd name="connsiteX324" fmla="*/ 4229825 w 5529990"/>
              <a:gd name="connsiteY324" fmla="*/ 5456320 h 5456343"/>
              <a:gd name="connsiteX325" fmla="*/ 4214822 w 5529990"/>
              <a:gd name="connsiteY325" fmla="*/ 5434155 h 5456343"/>
              <a:gd name="connsiteX326" fmla="*/ 4150160 w 5529990"/>
              <a:gd name="connsiteY326" fmla="*/ 5406321 h 5456343"/>
              <a:gd name="connsiteX327" fmla="*/ 4094026 w 5529990"/>
              <a:gd name="connsiteY327" fmla="*/ 5427469 h 5456343"/>
              <a:gd name="connsiteX328" fmla="*/ 4039855 w 5529990"/>
              <a:gd name="connsiteY328" fmla="*/ 5408946 h 5456343"/>
              <a:gd name="connsiteX329" fmla="*/ 3927948 w 5529990"/>
              <a:gd name="connsiteY329" fmla="*/ 5419353 h 5456343"/>
              <a:gd name="connsiteX330" fmla="*/ 3912268 w 5529990"/>
              <a:gd name="connsiteY330" fmla="*/ 5436408 h 5456343"/>
              <a:gd name="connsiteX331" fmla="*/ 3845463 w 5529990"/>
              <a:gd name="connsiteY331" fmla="*/ 5381894 h 5456343"/>
              <a:gd name="connsiteX332" fmla="*/ 3765729 w 5529990"/>
              <a:gd name="connsiteY332" fmla="*/ 5409883 h 5456343"/>
              <a:gd name="connsiteX333" fmla="*/ 3765910 w 5529990"/>
              <a:gd name="connsiteY333" fmla="*/ 5393938 h 5456343"/>
              <a:gd name="connsiteX334" fmla="*/ 3718780 w 5529990"/>
              <a:gd name="connsiteY334" fmla="*/ 5329630 h 5456343"/>
              <a:gd name="connsiteX335" fmla="*/ 3675462 w 5529990"/>
              <a:gd name="connsiteY335" fmla="*/ 5288528 h 5456343"/>
              <a:gd name="connsiteX336" fmla="*/ 3619984 w 5529990"/>
              <a:gd name="connsiteY336" fmla="*/ 5241589 h 5456343"/>
              <a:gd name="connsiteX337" fmla="*/ 3608747 w 5529990"/>
              <a:gd name="connsiteY337" fmla="*/ 5267190 h 5456343"/>
              <a:gd name="connsiteX338" fmla="*/ 3596563 w 5529990"/>
              <a:gd name="connsiteY338" fmla="*/ 5314780 h 5456343"/>
              <a:gd name="connsiteX339" fmla="*/ 3574430 w 5529990"/>
              <a:gd name="connsiteY339" fmla="*/ 5305224 h 5456343"/>
              <a:gd name="connsiteX340" fmla="*/ 3499909 w 5529990"/>
              <a:gd name="connsiteY340" fmla="*/ 5253419 h 5456343"/>
              <a:gd name="connsiteX341" fmla="*/ 3315692 w 5529990"/>
              <a:gd name="connsiteY341" fmla="*/ 5243008 h 5456343"/>
              <a:gd name="connsiteX342" fmla="*/ 3221835 w 5529990"/>
              <a:gd name="connsiteY342" fmla="*/ 5222534 h 5456343"/>
              <a:gd name="connsiteX343" fmla="*/ 3181652 w 5529990"/>
              <a:gd name="connsiteY343" fmla="*/ 5243858 h 5456343"/>
              <a:gd name="connsiteX344" fmla="*/ 3144425 w 5529990"/>
              <a:gd name="connsiteY344" fmla="*/ 5261258 h 5456343"/>
              <a:gd name="connsiteX345" fmla="*/ 3142147 w 5529990"/>
              <a:gd name="connsiteY345" fmla="*/ 5225963 h 5456343"/>
              <a:gd name="connsiteX346" fmla="*/ 3132063 w 5529990"/>
              <a:gd name="connsiteY346" fmla="*/ 5160201 h 5456343"/>
              <a:gd name="connsiteX347" fmla="*/ 2992209 w 5529990"/>
              <a:gd name="connsiteY347" fmla="*/ 4872894 h 5456343"/>
              <a:gd name="connsiteX348" fmla="*/ 2922382 w 5529990"/>
              <a:gd name="connsiteY348" fmla="*/ 4817997 h 5456343"/>
              <a:gd name="connsiteX349" fmla="*/ 2852371 w 5529990"/>
              <a:gd name="connsiteY349" fmla="*/ 4861342 h 5456343"/>
              <a:gd name="connsiteX350" fmla="*/ 2799055 w 5529990"/>
              <a:gd name="connsiteY350" fmla="*/ 4952246 h 5456343"/>
              <a:gd name="connsiteX351" fmla="*/ 2750389 w 5529990"/>
              <a:gd name="connsiteY351" fmla="*/ 4982323 h 5456343"/>
              <a:gd name="connsiteX352" fmla="*/ 2759166 w 5529990"/>
              <a:gd name="connsiteY352" fmla="*/ 4937373 h 5456343"/>
              <a:gd name="connsiteX353" fmla="*/ 2758717 w 5529990"/>
              <a:gd name="connsiteY353" fmla="*/ 4853791 h 5456343"/>
              <a:gd name="connsiteX354" fmla="*/ 2773428 w 5529990"/>
              <a:gd name="connsiteY354" fmla="*/ 4829858 h 5456343"/>
              <a:gd name="connsiteX355" fmla="*/ 2813611 w 5529990"/>
              <a:gd name="connsiteY355" fmla="*/ 4808534 h 5456343"/>
              <a:gd name="connsiteX356" fmla="*/ 2820922 w 5529990"/>
              <a:gd name="connsiteY356" fmla="*/ 4779980 h 5456343"/>
              <a:gd name="connsiteX357" fmla="*/ 2796668 w 5529990"/>
              <a:gd name="connsiteY357" fmla="*/ 4772612 h 5456343"/>
              <a:gd name="connsiteX358" fmla="*/ 2622107 w 5529990"/>
              <a:gd name="connsiteY358" fmla="*/ 4773249 h 5456343"/>
              <a:gd name="connsiteX359" fmla="*/ 2591932 w 5529990"/>
              <a:gd name="connsiteY359" fmla="*/ 4771776 h 5456343"/>
              <a:gd name="connsiteX360" fmla="*/ 2581363 w 5529990"/>
              <a:gd name="connsiteY360" fmla="*/ 4784316 h 5456343"/>
              <a:gd name="connsiteX361" fmla="*/ 2533973 w 5529990"/>
              <a:gd name="connsiteY361" fmla="*/ 4788867 h 5456343"/>
              <a:gd name="connsiteX362" fmla="*/ 2494641 w 5529990"/>
              <a:gd name="connsiteY362" fmla="*/ 4816770 h 5456343"/>
              <a:gd name="connsiteX363" fmla="*/ 2502607 w 5529990"/>
              <a:gd name="connsiteY363" fmla="*/ 4887605 h 5456343"/>
              <a:gd name="connsiteX364" fmla="*/ 2530777 w 5529990"/>
              <a:gd name="connsiteY364" fmla="*/ 5025291 h 5456343"/>
              <a:gd name="connsiteX365" fmla="*/ 2526229 w 5529990"/>
              <a:gd name="connsiteY365" fmla="*/ 5094470 h 5456343"/>
              <a:gd name="connsiteX366" fmla="*/ 2476444 w 5529990"/>
              <a:gd name="connsiteY366" fmla="*/ 5139834 h 5456343"/>
              <a:gd name="connsiteX367" fmla="*/ 2456379 w 5529990"/>
              <a:gd name="connsiteY367" fmla="*/ 5052626 h 5456343"/>
              <a:gd name="connsiteX368" fmla="*/ 2428893 w 5529990"/>
              <a:gd name="connsiteY368" fmla="*/ 4952213 h 5456343"/>
              <a:gd name="connsiteX369" fmla="*/ 2404842 w 5529990"/>
              <a:gd name="connsiteY369" fmla="*/ 4852765 h 5456343"/>
              <a:gd name="connsiteX370" fmla="*/ 2313953 w 5529990"/>
              <a:gd name="connsiteY370" fmla="*/ 4819852 h 5456343"/>
              <a:gd name="connsiteX371" fmla="*/ 2305700 w 5529990"/>
              <a:gd name="connsiteY371" fmla="*/ 4836077 h 5456343"/>
              <a:gd name="connsiteX372" fmla="*/ 2307760 w 5529990"/>
              <a:gd name="connsiteY372" fmla="*/ 4855197 h 5456343"/>
              <a:gd name="connsiteX373" fmla="*/ 2273652 w 5529990"/>
              <a:gd name="connsiteY373" fmla="*/ 4897541 h 5456343"/>
              <a:gd name="connsiteX374" fmla="*/ 2229651 w 5529990"/>
              <a:gd name="connsiteY374" fmla="*/ 4875929 h 5456343"/>
              <a:gd name="connsiteX375" fmla="*/ 2219754 w 5529990"/>
              <a:gd name="connsiteY375" fmla="*/ 4858320 h 5456343"/>
              <a:gd name="connsiteX376" fmla="*/ 2105490 w 5529990"/>
              <a:gd name="connsiteY376" fmla="*/ 4809581 h 5456343"/>
              <a:gd name="connsiteX377" fmla="*/ 2075923 w 5529990"/>
              <a:gd name="connsiteY377" fmla="*/ 4829098 h 5456343"/>
              <a:gd name="connsiteX378" fmla="*/ 1995879 w 5529990"/>
              <a:gd name="connsiteY378" fmla="*/ 4903056 h 5456343"/>
              <a:gd name="connsiteX379" fmla="*/ 1971127 w 5529990"/>
              <a:gd name="connsiteY379" fmla="*/ 4905382 h 5456343"/>
              <a:gd name="connsiteX380" fmla="*/ 1929602 w 5529990"/>
              <a:gd name="connsiteY380" fmla="*/ 4888172 h 5456343"/>
              <a:gd name="connsiteX381" fmla="*/ 1900724 w 5529990"/>
              <a:gd name="connsiteY381" fmla="*/ 4898612 h 5456343"/>
              <a:gd name="connsiteX382" fmla="*/ 1896871 w 5529990"/>
              <a:gd name="connsiteY382" fmla="*/ 4912363 h 5456343"/>
              <a:gd name="connsiteX383" fmla="*/ 1877068 w 5529990"/>
              <a:gd name="connsiteY383" fmla="*/ 4923495 h 5456343"/>
              <a:gd name="connsiteX384" fmla="*/ 1870333 w 5529990"/>
              <a:gd name="connsiteY384" fmla="*/ 4901212 h 5456343"/>
              <a:gd name="connsiteX385" fmla="*/ 1885608 w 5529990"/>
              <a:gd name="connsiteY385" fmla="*/ 4820209 h 5456343"/>
              <a:gd name="connsiteX386" fmla="*/ 1867872 w 5529990"/>
              <a:gd name="connsiteY386" fmla="*/ 4804109 h 5456343"/>
              <a:gd name="connsiteX387" fmla="*/ 1837342 w 5529990"/>
              <a:gd name="connsiteY387" fmla="*/ 4827064 h 5456343"/>
              <a:gd name="connsiteX388" fmla="*/ 1799662 w 5529990"/>
              <a:gd name="connsiteY388" fmla="*/ 4842451 h 5456343"/>
              <a:gd name="connsiteX389" fmla="*/ 1758003 w 5529990"/>
              <a:gd name="connsiteY389" fmla="*/ 4799247 h 5456343"/>
              <a:gd name="connsiteX390" fmla="*/ 1769692 w 5529990"/>
              <a:gd name="connsiteY390" fmla="*/ 4783984 h 5456343"/>
              <a:gd name="connsiteX391" fmla="*/ 1743295 w 5529990"/>
              <a:gd name="connsiteY391" fmla="*/ 4752477 h 5456343"/>
              <a:gd name="connsiteX392" fmla="*/ 1616518 w 5529990"/>
              <a:gd name="connsiteY392" fmla="*/ 4702082 h 5456343"/>
              <a:gd name="connsiteX393" fmla="*/ 1541847 w 5529990"/>
              <a:gd name="connsiteY393" fmla="*/ 4723780 h 5456343"/>
              <a:gd name="connsiteX394" fmla="*/ 1482305 w 5529990"/>
              <a:gd name="connsiteY394" fmla="*/ 4731179 h 5456343"/>
              <a:gd name="connsiteX395" fmla="*/ 1473783 w 5529990"/>
              <a:gd name="connsiteY395" fmla="*/ 4695417 h 5456343"/>
              <a:gd name="connsiteX396" fmla="*/ 1468846 w 5529990"/>
              <a:gd name="connsiteY396" fmla="*/ 4593913 h 5456343"/>
              <a:gd name="connsiteX397" fmla="*/ 1363940 w 5529990"/>
              <a:gd name="connsiteY397" fmla="*/ 4505154 h 5456343"/>
              <a:gd name="connsiteX398" fmla="*/ 1341662 w 5529990"/>
              <a:gd name="connsiteY398" fmla="*/ 4511882 h 5456343"/>
              <a:gd name="connsiteX399" fmla="*/ 1289128 w 5529990"/>
              <a:gd name="connsiteY399" fmla="*/ 4547206 h 5456343"/>
              <a:gd name="connsiteX400" fmla="*/ 1221480 w 5529990"/>
              <a:gd name="connsiteY400" fmla="*/ 4504127 h 5456343"/>
              <a:gd name="connsiteX401" fmla="*/ 1220530 w 5529990"/>
              <a:gd name="connsiteY401" fmla="*/ 4414866 h 5456343"/>
              <a:gd name="connsiteX402" fmla="*/ 1239097 w 5529990"/>
              <a:gd name="connsiteY402" fmla="*/ 4401534 h 5456343"/>
              <a:gd name="connsiteX403" fmla="*/ 1251750 w 5529990"/>
              <a:gd name="connsiteY403" fmla="*/ 4382834 h 5456343"/>
              <a:gd name="connsiteX404" fmla="*/ 1254504 w 5529990"/>
              <a:gd name="connsiteY404" fmla="*/ 4346526 h 5456343"/>
              <a:gd name="connsiteX405" fmla="*/ 1230581 w 5529990"/>
              <a:gd name="connsiteY405" fmla="*/ 4319421 h 5456343"/>
              <a:gd name="connsiteX406" fmla="*/ 1186758 w 5529990"/>
              <a:gd name="connsiteY406" fmla="*/ 4272364 h 5456343"/>
              <a:gd name="connsiteX407" fmla="*/ 1175214 w 5529990"/>
              <a:gd name="connsiteY407" fmla="*/ 4264939 h 5456343"/>
              <a:gd name="connsiteX408" fmla="*/ 1161833 w 5529990"/>
              <a:gd name="connsiteY408" fmla="*/ 4266023 h 5456343"/>
              <a:gd name="connsiteX409" fmla="*/ 1140837 w 5529990"/>
              <a:gd name="connsiteY409" fmla="*/ 4258967 h 5456343"/>
              <a:gd name="connsiteX410" fmla="*/ 1128185 w 5529990"/>
              <a:gd name="connsiteY410" fmla="*/ 4246273 h 5456343"/>
              <a:gd name="connsiteX411" fmla="*/ 1114189 w 5529990"/>
              <a:gd name="connsiteY411" fmla="*/ 4244360 h 5456343"/>
              <a:gd name="connsiteX412" fmla="*/ 1101745 w 5529990"/>
              <a:gd name="connsiteY412" fmla="*/ 4249907 h 5456343"/>
              <a:gd name="connsiteX413" fmla="*/ 1089334 w 5529990"/>
              <a:gd name="connsiteY413" fmla="*/ 4250366 h 5456343"/>
              <a:gd name="connsiteX414" fmla="*/ 1081819 w 5529990"/>
              <a:gd name="connsiteY414" fmla="*/ 4248119 h 5456343"/>
              <a:gd name="connsiteX415" fmla="*/ 1066120 w 5529990"/>
              <a:gd name="connsiteY415" fmla="*/ 4264125 h 5456343"/>
              <a:gd name="connsiteX416" fmla="*/ 1050323 w 5529990"/>
              <a:gd name="connsiteY416" fmla="*/ 4294755 h 5456343"/>
              <a:gd name="connsiteX417" fmla="*/ 983313 w 5529990"/>
              <a:gd name="connsiteY417" fmla="*/ 4357938 h 5456343"/>
              <a:gd name="connsiteX418" fmla="*/ 960346 w 5529990"/>
              <a:gd name="connsiteY418" fmla="*/ 4334969 h 5456343"/>
              <a:gd name="connsiteX419" fmla="*/ 1002467 w 5529990"/>
              <a:gd name="connsiteY419" fmla="*/ 4292849 h 5456343"/>
              <a:gd name="connsiteX420" fmla="*/ 1033100 w 5529990"/>
              <a:gd name="connsiteY420" fmla="*/ 4258387 h 5456343"/>
              <a:gd name="connsiteX421" fmla="*/ 998661 w 5529990"/>
              <a:gd name="connsiteY421" fmla="*/ 4158853 h 5456343"/>
              <a:gd name="connsiteX422" fmla="*/ 956556 w 5529990"/>
              <a:gd name="connsiteY422" fmla="*/ 4105261 h 5456343"/>
              <a:gd name="connsiteX423" fmla="*/ 904879 w 5529990"/>
              <a:gd name="connsiteY423" fmla="*/ 4057413 h 5456343"/>
              <a:gd name="connsiteX424" fmla="*/ 885736 w 5529990"/>
              <a:gd name="connsiteY424" fmla="*/ 4065073 h 5456343"/>
              <a:gd name="connsiteX425" fmla="*/ 818745 w 5529990"/>
              <a:gd name="connsiteY425" fmla="*/ 4013399 h 5456343"/>
              <a:gd name="connsiteX426" fmla="*/ 826409 w 5529990"/>
              <a:gd name="connsiteY426" fmla="*/ 3971284 h 5456343"/>
              <a:gd name="connsiteX427" fmla="*/ 870463 w 5529990"/>
              <a:gd name="connsiteY427" fmla="*/ 3816223 h 5456343"/>
              <a:gd name="connsiteX428" fmla="*/ 849420 w 5529990"/>
              <a:gd name="connsiteY428" fmla="*/ 3733913 h 5456343"/>
              <a:gd name="connsiteX429" fmla="*/ 837936 w 5529990"/>
              <a:gd name="connsiteY429" fmla="*/ 3722429 h 5456343"/>
              <a:gd name="connsiteX430" fmla="*/ 847517 w 5529990"/>
              <a:gd name="connsiteY430" fmla="*/ 3670743 h 5456343"/>
              <a:gd name="connsiteX431" fmla="*/ 871187 w 5529990"/>
              <a:gd name="connsiteY431" fmla="*/ 3654468 h 5456343"/>
              <a:gd name="connsiteX432" fmla="*/ 862921 w 5529990"/>
              <a:gd name="connsiteY432" fmla="*/ 3655033 h 5456343"/>
              <a:gd name="connsiteX433" fmla="*/ 865726 w 5529990"/>
              <a:gd name="connsiteY433" fmla="*/ 3649731 h 5456343"/>
              <a:gd name="connsiteX434" fmla="*/ 920326 w 5529990"/>
              <a:gd name="connsiteY434" fmla="*/ 3587177 h 5456343"/>
              <a:gd name="connsiteX435" fmla="*/ 925490 w 5529990"/>
              <a:gd name="connsiteY435" fmla="*/ 3584399 h 5456343"/>
              <a:gd name="connsiteX436" fmla="*/ 928649 w 5529990"/>
              <a:gd name="connsiteY436" fmla="*/ 3574777 h 5456343"/>
              <a:gd name="connsiteX437" fmla="*/ 925932 w 5529990"/>
              <a:gd name="connsiteY437" fmla="*/ 3550999 h 5456343"/>
              <a:gd name="connsiteX438" fmla="*/ 917654 w 5529990"/>
              <a:gd name="connsiteY438" fmla="*/ 3534979 h 5456343"/>
              <a:gd name="connsiteX439" fmla="*/ 912238 w 5529990"/>
              <a:gd name="connsiteY439" fmla="*/ 3534153 h 5456343"/>
              <a:gd name="connsiteX440" fmla="*/ 892558 w 5529990"/>
              <a:gd name="connsiteY440" fmla="*/ 3527474 h 5456343"/>
              <a:gd name="connsiteX441" fmla="*/ 830681 w 5529990"/>
              <a:gd name="connsiteY441" fmla="*/ 3510117 h 5456343"/>
              <a:gd name="connsiteX442" fmla="*/ 626610 w 5529990"/>
              <a:gd name="connsiteY442" fmla="*/ 3543722 h 5456343"/>
              <a:gd name="connsiteX443" fmla="*/ 581781 w 5529990"/>
              <a:gd name="connsiteY443" fmla="*/ 3551541 h 5456343"/>
              <a:gd name="connsiteX444" fmla="*/ 534885 w 5529990"/>
              <a:gd name="connsiteY444" fmla="*/ 3586592 h 5456343"/>
              <a:gd name="connsiteX445" fmla="*/ 508756 w 5529990"/>
              <a:gd name="connsiteY445" fmla="*/ 3607073 h 5456343"/>
              <a:gd name="connsiteX446" fmla="*/ 473000 w 5529990"/>
              <a:gd name="connsiteY446" fmla="*/ 3615583 h 5456343"/>
              <a:gd name="connsiteX447" fmla="*/ 451138 w 5529990"/>
              <a:gd name="connsiteY447" fmla="*/ 3607596 h 5456343"/>
              <a:gd name="connsiteX448" fmla="*/ 426615 w 5529990"/>
              <a:gd name="connsiteY448" fmla="*/ 3498773 h 5456343"/>
              <a:gd name="connsiteX449" fmla="*/ 434951 w 5529990"/>
              <a:gd name="connsiteY449" fmla="*/ 3478138 h 5456343"/>
              <a:gd name="connsiteX450" fmla="*/ 0 w 5529990"/>
              <a:gd name="connsiteY450" fmla="*/ 3478138 h 5456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</a:cxnLst>
            <a:rect l="l" t="t" r="r" b="b"/>
            <a:pathLst>
              <a:path w="5529990" h="5456343">
                <a:moveTo>
                  <a:pt x="5203477" y="4996820"/>
                </a:moveTo>
                <a:lnTo>
                  <a:pt x="5205385" y="4997961"/>
                </a:lnTo>
                <a:lnTo>
                  <a:pt x="5204062" y="4999290"/>
                </a:lnTo>
                <a:close/>
                <a:moveTo>
                  <a:pt x="3285288" y="850958"/>
                </a:moveTo>
                <a:lnTo>
                  <a:pt x="3285287" y="957889"/>
                </a:lnTo>
                <a:lnTo>
                  <a:pt x="3309883" y="964960"/>
                </a:lnTo>
                <a:lnTo>
                  <a:pt x="3342876" y="959101"/>
                </a:lnTo>
                <a:lnTo>
                  <a:pt x="3347625" y="953011"/>
                </a:lnTo>
                <a:cubicBezTo>
                  <a:pt x="3352506" y="941170"/>
                  <a:pt x="3345185" y="930079"/>
                  <a:pt x="3340340" y="917595"/>
                </a:cubicBezTo>
                <a:cubicBezTo>
                  <a:pt x="3332916" y="904388"/>
                  <a:pt x="3317655" y="892691"/>
                  <a:pt x="3323433" y="872062"/>
                </a:cubicBezTo>
                <a:cubicBezTo>
                  <a:pt x="3326596" y="867388"/>
                  <a:pt x="3321373" y="852944"/>
                  <a:pt x="3302259" y="854999"/>
                </a:cubicBezTo>
                <a:close/>
                <a:moveTo>
                  <a:pt x="97597" y="97597"/>
                </a:moveTo>
                <a:lnTo>
                  <a:pt x="97597" y="3380541"/>
                </a:lnTo>
                <a:lnTo>
                  <a:pt x="925476" y="3380541"/>
                </a:lnTo>
                <a:lnTo>
                  <a:pt x="946229" y="3355733"/>
                </a:lnTo>
                <a:cubicBezTo>
                  <a:pt x="955151" y="3350356"/>
                  <a:pt x="965808" y="3348710"/>
                  <a:pt x="978940" y="3351467"/>
                </a:cubicBezTo>
                <a:cubicBezTo>
                  <a:pt x="988016" y="3352158"/>
                  <a:pt x="997814" y="3350272"/>
                  <a:pt x="1007525" y="3349520"/>
                </a:cubicBezTo>
                <a:lnTo>
                  <a:pt x="1031564" y="3353683"/>
                </a:lnTo>
                <a:lnTo>
                  <a:pt x="1032954" y="3351929"/>
                </a:lnTo>
                <a:cubicBezTo>
                  <a:pt x="1041511" y="3336793"/>
                  <a:pt x="1046658" y="3321358"/>
                  <a:pt x="1046660" y="3307002"/>
                </a:cubicBezTo>
                <a:cubicBezTo>
                  <a:pt x="1046661" y="3298388"/>
                  <a:pt x="1047980" y="3291329"/>
                  <a:pt x="1050343" y="3285495"/>
                </a:cubicBezTo>
                <a:lnTo>
                  <a:pt x="1053485" y="3281034"/>
                </a:lnTo>
                <a:lnTo>
                  <a:pt x="213108" y="3281033"/>
                </a:lnTo>
                <a:lnTo>
                  <a:pt x="213107" y="208854"/>
                </a:lnTo>
                <a:lnTo>
                  <a:pt x="3285287" y="208854"/>
                </a:lnTo>
                <a:lnTo>
                  <a:pt x="3285287" y="805089"/>
                </a:lnTo>
                <a:lnTo>
                  <a:pt x="3285421" y="805084"/>
                </a:lnTo>
                <a:cubicBezTo>
                  <a:pt x="3294358" y="808749"/>
                  <a:pt x="3302058" y="816008"/>
                  <a:pt x="3308726" y="825294"/>
                </a:cubicBezTo>
                <a:cubicBezTo>
                  <a:pt x="3318349" y="837264"/>
                  <a:pt x="3328663" y="840157"/>
                  <a:pt x="3343101" y="834936"/>
                </a:cubicBezTo>
                <a:cubicBezTo>
                  <a:pt x="3347502" y="832463"/>
                  <a:pt x="3351903" y="829989"/>
                  <a:pt x="3357542" y="829717"/>
                </a:cubicBezTo>
                <a:lnTo>
                  <a:pt x="3389087" y="840123"/>
                </a:lnTo>
                <a:lnTo>
                  <a:pt x="3389087" y="97597"/>
                </a:lnTo>
                <a:close/>
                <a:moveTo>
                  <a:pt x="0" y="0"/>
                </a:moveTo>
                <a:lnTo>
                  <a:pt x="3486684" y="0"/>
                </a:lnTo>
                <a:lnTo>
                  <a:pt x="3486684" y="833838"/>
                </a:lnTo>
                <a:lnTo>
                  <a:pt x="3500172" y="834269"/>
                </a:lnTo>
                <a:cubicBezTo>
                  <a:pt x="3505844" y="834701"/>
                  <a:pt x="3511551" y="835838"/>
                  <a:pt x="3516226" y="839003"/>
                </a:cubicBezTo>
                <a:cubicBezTo>
                  <a:pt x="3558715" y="852776"/>
                  <a:pt x="3606019" y="849359"/>
                  <a:pt x="3647545" y="866570"/>
                </a:cubicBezTo>
                <a:cubicBezTo>
                  <a:pt x="3654421" y="868498"/>
                  <a:pt x="3662259" y="866989"/>
                  <a:pt x="3662947" y="857912"/>
                </a:cubicBezTo>
                <a:cubicBezTo>
                  <a:pt x="3663910" y="854475"/>
                  <a:pt x="3661435" y="850071"/>
                  <a:pt x="3656762" y="846906"/>
                </a:cubicBezTo>
                <a:cubicBezTo>
                  <a:pt x="3612486" y="819655"/>
                  <a:pt x="3566012" y="793639"/>
                  <a:pt x="3515960" y="787015"/>
                </a:cubicBezTo>
                <a:cubicBezTo>
                  <a:pt x="3500008" y="784394"/>
                  <a:pt x="3493133" y="782466"/>
                  <a:pt x="3489147" y="770223"/>
                </a:cubicBezTo>
                <a:cubicBezTo>
                  <a:pt x="3481723" y="757017"/>
                  <a:pt x="3488465" y="732951"/>
                  <a:pt x="3498229" y="724565"/>
                </a:cubicBezTo>
                <a:cubicBezTo>
                  <a:pt x="3504213" y="719755"/>
                  <a:pt x="3510881" y="717454"/>
                  <a:pt x="3516829" y="717732"/>
                </a:cubicBezTo>
                <a:cubicBezTo>
                  <a:pt x="3522775" y="718009"/>
                  <a:pt x="3528002" y="720865"/>
                  <a:pt x="3531095" y="726369"/>
                </a:cubicBezTo>
                <a:cubicBezTo>
                  <a:pt x="3540717" y="738339"/>
                  <a:pt x="3552408" y="723077"/>
                  <a:pt x="3557357" y="731881"/>
                </a:cubicBezTo>
                <a:cubicBezTo>
                  <a:pt x="3563543" y="742887"/>
                  <a:pt x="3573584" y="740141"/>
                  <a:pt x="3581695" y="744271"/>
                </a:cubicBezTo>
                <a:cubicBezTo>
                  <a:pt x="3610433" y="754187"/>
                  <a:pt x="3634771" y="766576"/>
                  <a:pt x="3651817" y="791752"/>
                </a:cubicBezTo>
                <a:cubicBezTo>
                  <a:pt x="3662955" y="811562"/>
                  <a:pt x="3687707" y="809235"/>
                  <a:pt x="3701043" y="827808"/>
                </a:cubicBezTo>
                <a:cubicBezTo>
                  <a:pt x="3718363" y="858625"/>
                  <a:pt x="3755903" y="863592"/>
                  <a:pt x="3778589" y="888498"/>
                </a:cubicBezTo>
                <a:cubicBezTo>
                  <a:pt x="3807187" y="918769"/>
                  <a:pt x="3843349" y="941890"/>
                  <a:pt x="3870983" y="975599"/>
                </a:cubicBezTo>
                <a:cubicBezTo>
                  <a:pt x="3881846" y="989770"/>
                  <a:pt x="3896558" y="990189"/>
                  <a:pt x="3913472" y="989372"/>
                </a:cubicBezTo>
                <a:cubicBezTo>
                  <a:pt x="3923511" y="986625"/>
                  <a:pt x="3936024" y="988282"/>
                  <a:pt x="3940973" y="997085"/>
                </a:cubicBezTo>
                <a:cubicBezTo>
                  <a:pt x="3948670" y="1015932"/>
                  <a:pt x="3967786" y="1013877"/>
                  <a:pt x="3982772" y="1019936"/>
                </a:cubicBezTo>
                <a:cubicBezTo>
                  <a:pt x="3978104" y="970422"/>
                  <a:pt x="3961198" y="924889"/>
                  <a:pt x="3937964" y="888706"/>
                </a:cubicBezTo>
                <a:cubicBezTo>
                  <a:pt x="3928065" y="871097"/>
                  <a:pt x="3912388" y="874116"/>
                  <a:pt x="3899601" y="866821"/>
                </a:cubicBezTo>
                <a:cubicBezTo>
                  <a:pt x="3878701" y="855396"/>
                  <a:pt x="3863440" y="843699"/>
                  <a:pt x="3853267" y="820451"/>
                </a:cubicBezTo>
                <a:cubicBezTo>
                  <a:pt x="3845844" y="807243"/>
                  <a:pt x="3839658" y="796238"/>
                  <a:pt x="3829759" y="778630"/>
                </a:cubicBezTo>
                <a:cubicBezTo>
                  <a:pt x="3856712" y="775065"/>
                  <a:pt x="3879951" y="764897"/>
                  <a:pt x="3899474" y="794477"/>
                </a:cubicBezTo>
                <a:cubicBezTo>
                  <a:pt x="3906898" y="807684"/>
                  <a:pt x="3932471" y="822274"/>
                  <a:pt x="3949113" y="815817"/>
                </a:cubicBezTo>
                <a:cubicBezTo>
                  <a:pt x="3967952" y="808123"/>
                  <a:pt x="3973176" y="822568"/>
                  <a:pt x="3979087" y="827934"/>
                </a:cubicBezTo>
                <a:cubicBezTo>
                  <a:pt x="3993387" y="843069"/>
                  <a:pt x="4011123" y="859169"/>
                  <a:pt x="4029548" y="866192"/>
                </a:cubicBezTo>
                <a:cubicBezTo>
                  <a:pt x="4051411" y="874180"/>
                  <a:pt x="4053745" y="898937"/>
                  <a:pt x="4074646" y="910362"/>
                </a:cubicBezTo>
                <a:cubicBezTo>
                  <a:pt x="4086196" y="915455"/>
                  <a:pt x="4092382" y="926461"/>
                  <a:pt x="4111496" y="924407"/>
                </a:cubicBezTo>
                <a:cubicBezTo>
                  <a:pt x="4136249" y="922079"/>
                  <a:pt x="4154948" y="934741"/>
                  <a:pt x="4161957" y="962664"/>
                </a:cubicBezTo>
                <a:cubicBezTo>
                  <a:pt x="4152192" y="971049"/>
                  <a:pt x="4137753" y="976269"/>
                  <a:pt x="4131426" y="985620"/>
                </a:cubicBezTo>
                <a:cubicBezTo>
                  <a:pt x="4125375" y="1000608"/>
                  <a:pt x="4126197" y="1017525"/>
                  <a:pt x="4134857" y="1032933"/>
                </a:cubicBezTo>
                <a:cubicBezTo>
                  <a:pt x="4141044" y="1043939"/>
                  <a:pt x="4129079" y="1053560"/>
                  <a:pt x="4138703" y="1065530"/>
                </a:cubicBezTo>
                <a:cubicBezTo>
                  <a:pt x="4144615" y="1070897"/>
                  <a:pt x="4125501" y="1072951"/>
                  <a:pt x="4128249" y="1082993"/>
                </a:cubicBezTo>
                <a:cubicBezTo>
                  <a:pt x="4129487" y="1085194"/>
                  <a:pt x="4140488" y="1079010"/>
                  <a:pt x="4147363" y="1080938"/>
                </a:cubicBezTo>
                <a:cubicBezTo>
                  <a:pt x="4155477" y="1085068"/>
                  <a:pt x="4161388" y="1090434"/>
                  <a:pt x="4170738" y="1096765"/>
                </a:cubicBezTo>
                <a:cubicBezTo>
                  <a:pt x="4179125" y="1106535"/>
                  <a:pt x="4178437" y="1115611"/>
                  <a:pt x="4166471" y="1125234"/>
                </a:cubicBezTo>
                <a:cubicBezTo>
                  <a:pt x="4141305" y="1142278"/>
                  <a:pt x="4137452" y="1156029"/>
                  <a:pt x="4151337" y="1185880"/>
                </a:cubicBezTo>
                <a:cubicBezTo>
                  <a:pt x="4156286" y="1194685"/>
                  <a:pt x="4142120" y="1205544"/>
                  <a:pt x="4159309" y="1210365"/>
                </a:cubicBezTo>
                <a:cubicBezTo>
                  <a:pt x="4185164" y="1184245"/>
                  <a:pt x="4187920" y="1147936"/>
                  <a:pt x="4205665" y="1117687"/>
                </a:cubicBezTo>
                <a:cubicBezTo>
                  <a:pt x="4208827" y="1113012"/>
                  <a:pt x="4208552" y="1107373"/>
                  <a:pt x="4209517" y="1103935"/>
                </a:cubicBezTo>
                <a:cubicBezTo>
                  <a:pt x="4213642" y="1095822"/>
                  <a:pt x="4218043" y="1093348"/>
                  <a:pt x="4224918" y="1095278"/>
                </a:cubicBezTo>
                <a:cubicBezTo>
                  <a:pt x="4229592" y="1098442"/>
                  <a:pt x="4232067" y="1102845"/>
                  <a:pt x="4232341" y="1108484"/>
                </a:cubicBezTo>
                <a:cubicBezTo>
                  <a:pt x="4224362" y="1130348"/>
                  <a:pt x="4221059" y="1155379"/>
                  <a:pt x="4211843" y="1175042"/>
                </a:cubicBezTo>
                <a:cubicBezTo>
                  <a:pt x="4198499" y="1202818"/>
                  <a:pt x="4213073" y="1223592"/>
                  <a:pt x="4227373" y="1238729"/>
                </a:cubicBezTo>
                <a:cubicBezTo>
                  <a:pt x="4239197" y="1249462"/>
                  <a:pt x="4252533" y="1268034"/>
                  <a:pt x="4277010" y="1260069"/>
                </a:cubicBezTo>
                <a:cubicBezTo>
                  <a:pt x="4289250" y="1256085"/>
                  <a:pt x="4305201" y="1258706"/>
                  <a:pt x="4319914" y="1259126"/>
                </a:cubicBezTo>
                <a:cubicBezTo>
                  <a:pt x="4360617" y="1259418"/>
                  <a:pt x="4386465" y="1279648"/>
                  <a:pt x="4394024" y="1318850"/>
                </a:cubicBezTo>
                <a:cubicBezTo>
                  <a:pt x="4400069" y="1350210"/>
                  <a:pt x="4407078" y="1378133"/>
                  <a:pt x="4439529" y="1394653"/>
                </a:cubicBezTo>
                <a:lnTo>
                  <a:pt x="4465896" y="1405900"/>
                </a:lnTo>
                <a:lnTo>
                  <a:pt x="4496792" y="1389917"/>
                </a:lnTo>
                <a:cubicBezTo>
                  <a:pt x="4507035" y="1380041"/>
                  <a:pt x="4514057" y="1366965"/>
                  <a:pt x="4517002" y="1350259"/>
                </a:cubicBezTo>
                <a:cubicBezTo>
                  <a:pt x="4520352" y="1326277"/>
                  <a:pt x="4525431" y="1307426"/>
                  <a:pt x="4543362" y="1292820"/>
                </a:cubicBezTo>
                <a:cubicBezTo>
                  <a:pt x="4551896" y="1284234"/>
                  <a:pt x="4562155" y="1280780"/>
                  <a:pt x="4573307" y="1288454"/>
                </a:cubicBezTo>
                <a:cubicBezTo>
                  <a:pt x="4582731" y="1290996"/>
                  <a:pt x="4586185" y="1301260"/>
                  <a:pt x="4586211" y="1309822"/>
                </a:cubicBezTo>
                <a:cubicBezTo>
                  <a:pt x="4585426" y="1332941"/>
                  <a:pt x="4578645" y="1355222"/>
                  <a:pt x="4565007" y="1374097"/>
                </a:cubicBezTo>
                <a:lnTo>
                  <a:pt x="4525037" y="1424592"/>
                </a:lnTo>
                <a:lnTo>
                  <a:pt x="4537809" y="1428478"/>
                </a:lnTo>
                <a:cubicBezTo>
                  <a:pt x="4547845" y="1431526"/>
                  <a:pt x="4558400" y="1433560"/>
                  <a:pt x="4570157" y="1431296"/>
                </a:cubicBezTo>
                <a:cubicBezTo>
                  <a:pt x="4577996" y="1429785"/>
                  <a:pt x="4581708" y="1436389"/>
                  <a:pt x="4584183" y="1440791"/>
                </a:cubicBezTo>
                <a:cubicBezTo>
                  <a:pt x="4602468" y="1468169"/>
                  <a:pt x="4606314" y="1500767"/>
                  <a:pt x="4615797" y="1533093"/>
                </a:cubicBezTo>
                <a:cubicBezTo>
                  <a:pt x="4619782" y="1545335"/>
                  <a:pt x="4624319" y="1557269"/>
                  <a:pt x="4630077" y="1568154"/>
                </a:cubicBezTo>
                <a:lnTo>
                  <a:pt x="4642622" y="1584865"/>
                </a:lnTo>
                <a:lnTo>
                  <a:pt x="4650392" y="1585335"/>
                </a:lnTo>
                <a:cubicBezTo>
                  <a:pt x="4669212" y="1581857"/>
                  <a:pt x="4687170" y="1575812"/>
                  <a:pt x="4706855" y="1574900"/>
                </a:cubicBezTo>
                <a:cubicBezTo>
                  <a:pt x="4719693" y="1574864"/>
                  <a:pt x="4728693" y="1578264"/>
                  <a:pt x="4733741" y="1584777"/>
                </a:cubicBezTo>
                <a:lnTo>
                  <a:pt x="4735707" y="1602394"/>
                </a:lnTo>
                <a:lnTo>
                  <a:pt x="4744256" y="1600647"/>
                </a:lnTo>
                <a:cubicBezTo>
                  <a:pt x="4756082" y="1599792"/>
                  <a:pt x="4768286" y="1600897"/>
                  <a:pt x="4780936" y="1605372"/>
                </a:cubicBezTo>
                <a:cubicBezTo>
                  <a:pt x="4801836" y="1616799"/>
                  <a:pt x="4810496" y="1632206"/>
                  <a:pt x="4803756" y="1656271"/>
                </a:cubicBezTo>
                <a:cubicBezTo>
                  <a:pt x="4798940" y="1673462"/>
                  <a:pt x="4788212" y="1685285"/>
                  <a:pt x="4782161" y="1700274"/>
                </a:cubicBezTo>
                <a:cubicBezTo>
                  <a:pt x="4772256" y="1729014"/>
                  <a:pt x="4768951" y="1754045"/>
                  <a:pt x="4785999" y="1779221"/>
                </a:cubicBezTo>
                <a:cubicBezTo>
                  <a:pt x="4790949" y="1788026"/>
                  <a:pt x="4795899" y="1796830"/>
                  <a:pt x="4800847" y="1805635"/>
                </a:cubicBezTo>
                <a:lnTo>
                  <a:pt x="4804501" y="1810637"/>
                </a:lnTo>
                <a:lnTo>
                  <a:pt x="4845375" y="1808249"/>
                </a:lnTo>
                <a:cubicBezTo>
                  <a:pt x="4846894" y="1814880"/>
                  <a:pt x="4846053" y="1820341"/>
                  <a:pt x="4843969" y="1825149"/>
                </a:cubicBezTo>
                <a:lnTo>
                  <a:pt x="4843929" y="1825206"/>
                </a:lnTo>
                <a:lnTo>
                  <a:pt x="4852839" y="1826013"/>
                </a:lnTo>
                <a:cubicBezTo>
                  <a:pt x="4859010" y="1827976"/>
                  <a:pt x="4865335" y="1830215"/>
                  <a:pt x="4872074" y="1829323"/>
                </a:cubicBezTo>
                <a:cubicBezTo>
                  <a:pt x="4896826" y="1826996"/>
                  <a:pt x="4915835" y="1840208"/>
                  <a:pt x="4925096" y="1859262"/>
                </a:cubicBezTo>
                <a:lnTo>
                  <a:pt x="4929808" y="1883858"/>
                </a:lnTo>
                <a:lnTo>
                  <a:pt x="4939343" y="1886966"/>
                </a:lnTo>
                <a:cubicBezTo>
                  <a:pt x="4956041" y="1888844"/>
                  <a:pt x="4973154" y="1886656"/>
                  <a:pt x="4991962" y="1878897"/>
                </a:cubicBezTo>
                <a:cubicBezTo>
                  <a:pt x="4996228" y="1874604"/>
                  <a:pt x="4999657" y="1876306"/>
                  <a:pt x="5003950" y="1880575"/>
                </a:cubicBezTo>
                <a:cubicBezTo>
                  <a:pt x="4998008" y="1896860"/>
                  <a:pt x="4979187" y="1900338"/>
                  <a:pt x="4972381" y="1914056"/>
                </a:cubicBezTo>
                <a:cubicBezTo>
                  <a:pt x="4973245" y="1916623"/>
                  <a:pt x="4974108" y="1919188"/>
                  <a:pt x="4975836" y="1924321"/>
                </a:cubicBezTo>
                <a:cubicBezTo>
                  <a:pt x="4991365" y="1964091"/>
                  <a:pt x="5011707" y="2003846"/>
                  <a:pt x="5015575" y="2048343"/>
                </a:cubicBezTo>
                <a:lnTo>
                  <a:pt x="5014612" y="2066816"/>
                </a:lnTo>
                <a:lnTo>
                  <a:pt x="5068869" y="2055795"/>
                </a:lnTo>
                <a:cubicBezTo>
                  <a:pt x="5091061" y="2050200"/>
                  <a:pt x="5113097" y="2044332"/>
                  <a:pt x="5135512" y="2040422"/>
                </a:cubicBezTo>
                <a:cubicBezTo>
                  <a:pt x="5151189" y="2037403"/>
                  <a:pt x="5165629" y="2032183"/>
                  <a:pt x="5180616" y="2038241"/>
                </a:cubicBezTo>
                <a:cubicBezTo>
                  <a:pt x="5192167" y="2043336"/>
                  <a:pt x="5207843" y="2040317"/>
                  <a:pt x="5204265" y="2059708"/>
                </a:cubicBezTo>
                <a:cubicBezTo>
                  <a:pt x="5201375" y="2070022"/>
                  <a:pt x="5212238" y="2084193"/>
                  <a:pt x="5192160" y="2089685"/>
                </a:cubicBezTo>
                <a:cubicBezTo>
                  <a:pt x="5176483" y="2092704"/>
                  <a:pt x="5169194" y="2105491"/>
                  <a:pt x="5148842" y="2105345"/>
                </a:cubicBezTo>
                <a:cubicBezTo>
                  <a:pt x="5131928" y="2106163"/>
                  <a:pt x="5112124" y="2117294"/>
                  <a:pt x="5101673" y="2134757"/>
                </a:cubicBezTo>
                <a:cubicBezTo>
                  <a:pt x="5093145" y="2145342"/>
                  <a:pt x="5085032" y="2141214"/>
                  <a:pt x="5078431" y="2144923"/>
                </a:cubicBezTo>
                <a:cubicBezTo>
                  <a:pt x="5069011" y="2148770"/>
                  <a:pt x="5060726" y="2146910"/>
                  <a:pt x="5052563" y="2144620"/>
                </a:cubicBezTo>
                <a:lnTo>
                  <a:pt x="5037286" y="2142869"/>
                </a:lnTo>
                <a:lnTo>
                  <a:pt x="5039213" y="2146539"/>
                </a:lnTo>
                <a:cubicBezTo>
                  <a:pt x="5039657" y="2152103"/>
                  <a:pt x="5037321" y="2157888"/>
                  <a:pt x="5030489" y="2163045"/>
                </a:cubicBezTo>
                <a:lnTo>
                  <a:pt x="5028179" y="2165369"/>
                </a:lnTo>
                <a:lnTo>
                  <a:pt x="5046078" y="2171076"/>
                </a:lnTo>
                <a:cubicBezTo>
                  <a:pt x="5062408" y="2175655"/>
                  <a:pt x="5078495" y="2181095"/>
                  <a:pt x="5093139" y="2191692"/>
                </a:cubicBezTo>
                <a:cubicBezTo>
                  <a:pt x="5104687" y="2196786"/>
                  <a:pt x="5118438" y="2200643"/>
                  <a:pt x="5123662" y="2215086"/>
                </a:cubicBezTo>
                <a:cubicBezTo>
                  <a:pt x="5122699" y="2218526"/>
                  <a:pt x="5125173" y="2222928"/>
                  <a:pt x="5128611" y="2223892"/>
                </a:cubicBezTo>
                <a:cubicBezTo>
                  <a:pt x="5186634" y="2255001"/>
                  <a:pt x="5200927" y="2316485"/>
                  <a:pt x="5228422" y="2370550"/>
                </a:cubicBezTo>
                <a:cubicBezTo>
                  <a:pt x="5229660" y="2372750"/>
                  <a:pt x="5226497" y="2377426"/>
                  <a:pt x="5228697" y="2376188"/>
                </a:cubicBezTo>
                <a:cubicBezTo>
                  <a:pt x="5262110" y="2389270"/>
                  <a:pt x="5261555" y="2424342"/>
                  <a:pt x="5262652" y="2446897"/>
                </a:cubicBezTo>
                <a:cubicBezTo>
                  <a:pt x="5266498" y="2479496"/>
                  <a:pt x="5284508" y="2501235"/>
                  <a:pt x="5299355" y="2527647"/>
                </a:cubicBezTo>
                <a:cubicBezTo>
                  <a:pt x="5308015" y="2543057"/>
                  <a:pt x="5331804" y="2544168"/>
                  <a:pt x="5348719" y="2543349"/>
                </a:cubicBezTo>
                <a:cubicBezTo>
                  <a:pt x="5367833" y="2541295"/>
                  <a:pt x="5381583" y="2545151"/>
                  <a:pt x="5393408" y="2555885"/>
                </a:cubicBezTo>
                <a:cubicBezTo>
                  <a:pt x="5398083" y="2559051"/>
                  <a:pt x="5402759" y="2562217"/>
                  <a:pt x="5407160" y="2559743"/>
                </a:cubicBezTo>
                <a:cubicBezTo>
                  <a:pt x="5427651" y="2539534"/>
                  <a:pt x="5449372" y="2567875"/>
                  <a:pt x="5472613" y="2557709"/>
                </a:cubicBezTo>
                <a:cubicBezTo>
                  <a:pt x="5480452" y="2556199"/>
                  <a:pt x="5484437" y="2568442"/>
                  <a:pt x="5485949" y="2576283"/>
                </a:cubicBezTo>
                <a:cubicBezTo>
                  <a:pt x="5490899" y="2585087"/>
                  <a:pt x="5473985" y="2585904"/>
                  <a:pt x="5476734" y="2595946"/>
                </a:cubicBezTo>
                <a:cubicBezTo>
                  <a:pt x="5480171" y="2596910"/>
                  <a:pt x="5485810" y="2596637"/>
                  <a:pt x="5490484" y="2599804"/>
                </a:cubicBezTo>
                <a:cubicBezTo>
                  <a:pt x="5498596" y="2603933"/>
                  <a:pt x="5516473" y="2599677"/>
                  <a:pt x="5519497" y="2615358"/>
                </a:cubicBezTo>
                <a:cubicBezTo>
                  <a:pt x="5524719" y="2629801"/>
                  <a:pt x="5531179" y="2646446"/>
                  <a:pt x="5529803" y="2664600"/>
                </a:cubicBezTo>
                <a:cubicBezTo>
                  <a:pt x="5526223" y="2683991"/>
                  <a:pt x="5519210" y="2702418"/>
                  <a:pt x="5499679" y="2719188"/>
                </a:cubicBezTo>
                <a:cubicBezTo>
                  <a:pt x="5486478" y="2726609"/>
                  <a:pt x="5473551" y="2739669"/>
                  <a:pt x="5457599" y="2737049"/>
                </a:cubicBezTo>
                <a:cubicBezTo>
                  <a:pt x="5433810" y="2735938"/>
                  <a:pt x="5409747" y="2729188"/>
                  <a:pt x="5390773" y="2710887"/>
                </a:cubicBezTo>
                <a:cubicBezTo>
                  <a:pt x="5384860" y="2705521"/>
                  <a:pt x="5381149" y="2698917"/>
                  <a:pt x="5381838" y="2689840"/>
                </a:cubicBezTo>
                <a:cubicBezTo>
                  <a:pt x="5383215" y="2671686"/>
                  <a:pt x="5382393" y="2654769"/>
                  <a:pt x="5381571" y="2637851"/>
                </a:cubicBezTo>
                <a:cubicBezTo>
                  <a:pt x="5351870" y="2631374"/>
                  <a:pt x="5320930" y="2622696"/>
                  <a:pt x="5289992" y="2614017"/>
                </a:cubicBezTo>
                <a:cubicBezTo>
                  <a:pt x="5269225" y="2628586"/>
                  <a:pt x="5265923" y="2653616"/>
                  <a:pt x="5259180" y="2677681"/>
                </a:cubicBezTo>
                <a:cubicBezTo>
                  <a:pt x="5249549" y="2712061"/>
                  <a:pt x="5246794" y="2748370"/>
                  <a:pt x="5222176" y="2776691"/>
                </a:cubicBezTo>
                <a:cubicBezTo>
                  <a:pt x="5215850" y="2786040"/>
                  <a:pt x="5213235" y="2801994"/>
                  <a:pt x="5205122" y="2797863"/>
                </a:cubicBezTo>
                <a:cubicBezTo>
                  <a:pt x="5187934" y="2793042"/>
                  <a:pt x="5176517" y="2813942"/>
                  <a:pt x="5159054" y="2803482"/>
                </a:cubicBezTo>
                <a:cubicBezTo>
                  <a:pt x="5150942" y="2799352"/>
                  <a:pt x="5140903" y="2802098"/>
                  <a:pt x="5134992" y="2796732"/>
                </a:cubicBezTo>
                <a:cubicBezTo>
                  <a:pt x="5107905" y="2774301"/>
                  <a:pt x="5067476" y="2779647"/>
                  <a:pt x="5042589" y="2755979"/>
                </a:cubicBezTo>
                <a:cubicBezTo>
                  <a:pt x="5036678" y="2750613"/>
                  <a:pt x="5026914" y="2758998"/>
                  <a:pt x="5027187" y="2764637"/>
                </a:cubicBezTo>
                <a:cubicBezTo>
                  <a:pt x="5035159" y="2789122"/>
                  <a:pt x="5021269" y="2805621"/>
                  <a:pt x="5017692" y="2825011"/>
                </a:cubicBezTo>
                <a:cubicBezTo>
                  <a:pt x="4982901" y="2830084"/>
                  <a:pt x="4955814" y="2807653"/>
                  <a:pt x="4929276" y="2796501"/>
                </a:cubicBezTo>
                <a:cubicBezTo>
                  <a:pt x="4919925" y="2790170"/>
                  <a:pt x="4909613" y="2787277"/>
                  <a:pt x="4898064" y="2782184"/>
                </a:cubicBezTo>
                <a:cubicBezTo>
                  <a:pt x="4894625" y="2781219"/>
                  <a:pt x="4888987" y="2781492"/>
                  <a:pt x="4888987" y="2781492"/>
                </a:cubicBezTo>
                <a:cubicBezTo>
                  <a:pt x="4879083" y="2810233"/>
                  <a:pt x="4837143" y="2807738"/>
                  <a:pt x="4828476" y="2838679"/>
                </a:cubicBezTo>
                <a:cubicBezTo>
                  <a:pt x="4811828" y="2891486"/>
                  <a:pt x="4812096" y="2943474"/>
                  <a:pt x="4792012" y="2995316"/>
                </a:cubicBezTo>
                <a:cubicBezTo>
                  <a:pt x="4786923" y="3006867"/>
                  <a:pt x="4794346" y="3020074"/>
                  <a:pt x="4799984" y="3019801"/>
                </a:cubicBezTo>
                <a:cubicBezTo>
                  <a:pt x="4825285" y="3028753"/>
                  <a:pt x="4824181" y="3052545"/>
                  <a:pt x="4837243" y="3065480"/>
                </a:cubicBezTo>
                <a:cubicBezTo>
                  <a:pt x="4842191" y="3074285"/>
                  <a:pt x="4842467" y="3079925"/>
                  <a:pt x="4841777" y="3089001"/>
                </a:cubicBezTo>
                <a:cubicBezTo>
                  <a:pt x="4825820" y="3132731"/>
                  <a:pt x="4836815" y="3172896"/>
                  <a:pt x="4860050" y="3209077"/>
                </a:cubicBezTo>
                <a:cubicBezTo>
                  <a:pt x="4862524" y="3213480"/>
                  <a:pt x="4865000" y="3217883"/>
                  <a:pt x="4861834" y="3222557"/>
                </a:cubicBezTo>
                <a:cubicBezTo>
                  <a:pt x="4838321" y="3227085"/>
                  <a:pt x="4828147" y="3203838"/>
                  <a:pt x="4816322" y="3193104"/>
                </a:cubicBezTo>
                <a:cubicBezTo>
                  <a:pt x="4783050" y="3159668"/>
                  <a:pt x="4742214" y="3133380"/>
                  <a:pt x="4699177" y="3108328"/>
                </a:cubicBezTo>
                <a:cubicBezTo>
                  <a:pt x="4679514" y="3099106"/>
                  <a:pt x="4661363" y="3097722"/>
                  <a:pt x="4644723" y="3104179"/>
                </a:cubicBezTo>
                <a:cubicBezTo>
                  <a:pt x="4599204" y="3121076"/>
                  <a:pt x="4562347" y="3153380"/>
                  <a:pt x="4540752" y="3197380"/>
                </a:cubicBezTo>
                <a:cubicBezTo>
                  <a:pt x="4532225" y="3207968"/>
                  <a:pt x="4535796" y="3234927"/>
                  <a:pt x="4544184" y="3244695"/>
                </a:cubicBezTo>
                <a:cubicBezTo>
                  <a:pt x="4592028" y="3298906"/>
                  <a:pt x="4594503" y="3303308"/>
                  <a:pt x="4596283" y="3363136"/>
                </a:cubicBezTo>
                <a:cubicBezTo>
                  <a:pt x="4597106" y="3380055"/>
                  <a:pt x="4603291" y="3391060"/>
                  <a:pt x="4610716" y="3404267"/>
                </a:cubicBezTo>
                <a:cubicBezTo>
                  <a:pt x="4654021" y="3481307"/>
                  <a:pt x="4697325" y="3558345"/>
                  <a:pt x="4739666" y="3638823"/>
                </a:cubicBezTo>
                <a:cubicBezTo>
                  <a:pt x="4750801" y="3658634"/>
                  <a:pt x="4773902" y="3668822"/>
                  <a:pt x="4782837" y="3689868"/>
                </a:cubicBezTo>
                <a:cubicBezTo>
                  <a:pt x="4791772" y="3710916"/>
                  <a:pt x="4803871" y="3727288"/>
                  <a:pt x="4815006" y="3747099"/>
                </a:cubicBezTo>
                <a:cubicBezTo>
                  <a:pt x="4818719" y="3753702"/>
                  <a:pt x="4826556" y="3752193"/>
                  <a:pt x="4829032" y="3756594"/>
                </a:cubicBezTo>
                <a:cubicBezTo>
                  <a:pt x="4836180" y="3764162"/>
                  <a:pt x="4846768" y="3772694"/>
                  <a:pt x="4837004" y="3781080"/>
                </a:cubicBezTo>
                <a:cubicBezTo>
                  <a:pt x="4828475" y="3791666"/>
                  <a:pt x="4815689" y="3784371"/>
                  <a:pt x="4809775" y="3779005"/>
                </a:cubicBezTo>
                <a:cubicBezTo>
                  <a:pt x="4802627" y="3771436"/>
                  <a:pt x="4789838" y="3764142"/>
                  <a:pt x="4786128" y="3757537"/>
                </a:cubicBezTo>
                <a:cubicBezTo>
                  <a:pt x="4771969" y="3722048"/>
                  <a:pt x="4740482" y="3702091"/>
                  <a:pt x="4725360" y="3670038"/>
                </a:cubicBezTo>
                <a:cubicBezTo>
                  <a:pt x="4680818" y="3590797"/>
                  <a:pt x="4637514" y="3513757"/>
                  <a:pt x="4594209" y="3436718"/>
                </a:cubicBezTo>
                <a:cubicBezTo>
                  <a:pt x="4585548" y="3421310"/>
                  <a:pt x="4572760" y="3414015"/>
                  <a:pt x="4558738" y="3404519"/>
                </a:cubicBezTo>
                <a:cubicBezTo>
                  <a:pt x="4522573" y="3381395"/>
                  <a:pt x="4488614" y="3357037"/>
                  <a:pt x="4480507" y="3306558"/>
                </a:cubicBezTo>
                <a:cubicBezTo>
                  <a:pt x="4475839" y="3257043"/>
                  <a:pt x="4421110" y="3247252"/>
                  <a:pt x="4381231" y="3263877"/>
                </a:cubicBezTo>
                <a:cubicBezTo>
                  <a:pt x="4343551" y="3279265"/>
                  <a:pt x="4308620" y="3304692"/>
                  <a:pt x="4271213" y="3325719"/>
                </a:cubicBezTo>
                <a:cubicBezTo>
                  <a:pt x="4260211" y="3331903"/>
                  <a:pt x="4245217" y="3372193"/>
                  <a:pt x="4243839" y="3390348"/>
                </a:cubicBezTo>
                <a:cubicBezTo>
                  <a:pt x="4241706" y="3404582"/>
                  <a:pt x="4243492" y="3418061"/>
                  <a:pt x="4245828" y="3431231"/>
                </a:cubicBezTo>
                <a:lnTo>
                  <a:pt x="4249487" y="3458234"/>
                </a:lnTo>
                <a:lnTo>
                  <a:pt x="4268459" y="3485180"/>
                </a:lnTo>
                <a:cubicBezTo>
                  <a:pt x="4281443" y="3505708"/>
                  <a:pt x="4292876" y="3526961"/>
                  <a:pt x="4301641" y="3549872"/>
                </a:cubicBezTo>
                <a:cubicBezTo>
                  <a:pt x="4307055" y="3565296"/>
                  <a:pt x="4316508" y="3563422"/>
                  <a:pt x="4327699" y="3562381"/>
                </a:cubicBezTo>
                <a:cubicBezTo>
                  <a:pt x="4364295" y="3559642"/>
                  <a:pt x="4401792" y="3559473"/>
                  <a:pt x="4443283" y="3566565"/>
                </a:cubicBezTo>
                <a:cubicBezTo>
                  <a:pt x="4417314" y="3587231"/>
                  <a:pt x="4389789" y="3591118"/>
                  <a:pt x="4362331" y="3599313"/>
                </a:cubicBezTo>
                <a:cubicBezTo>
                  <a:pt x="4304843" y="3616605"/>
                  <a:pt x="4286341" y="3646200"/>
                  <a:pt x="4297508" y="3698587"/>
                </a:cubicBezTo>
                <a:cubicBezTo>
                  <a:pt x="4301772" y="3723079"/>
                  <a:pt x="4314000" y="3733224"/>
                  <a:pt x="4338953" y="3730240"/>
                </a:cubicBezTo>
                <a:cubicBezTo>
                  <a:pt x="4350144" y="3729199"/>
                  <a:pt x="4360432" y="3725588"/>
                  <a:pt x="4372142" y="3730140"/>
                </a:cubicBezTo>
                <a:cubicBezTo>
                  <a:pt x="4367268" y="3749176"/>
                  <a:pt x="4350550" y="3755045"/>
                  <a:pt x="4336403" y="3760011"/>
                </a:cubicBezTo>
                <a:cubicBezTo>
                  <a:pt x="4320971" y="3765428"/>
                  <a:pt x="4319369" y="3773209"/>
                  <a:pt x="4322595" y="3786514"/>
                </a:cubicBezTo>
                <a:cubicBezTo>
                  <a:pt x="4332656" y="3823408"/>
                  <a:pt x="4355894" y="3848458"/>
                  <a:pt x="4384277" y="3871702"/>
                </a:cubicBezTo>
                <a:cubicBezTo>
                  <a:pt x="4400431" y="3884800"/>
                  <a:pt x="4418322" y="3898733"/>
                  <a:pt x="4434476" y="3911831"/>
                </a:cubicBezTo>
                <a:cubicBezTo>
                  <a:pt x="4459384" y="3933408"/>
                  <a:pt x="4474454" y="3959880"/>
                  <a:pt x="4475830" y="3992604"/>
                </a:cubicBezTo>
                <a:cubicBezTo>
                  <a:pt x="4478491" y="4024877"/>
                  <a:pt x="4491171" y="4036308"/>
                  <a:pt x="4523073" y="4036659"/>
                </a:cubicBezTo>
                <a:cubicBezTo>
                  <a:pt x="4527382" y="4036590"/>
                  <a:pt x="4531241" y="4035236"/>
                  <a:pt x="4538122" y="4034264"/>
                </a:cubicBezTo>
                <a:cubicBezTo>
                  <a:pt x="4533767" y="4058894"/>
                  <a:pt x="4515830" y="4069521"/>
                  <a:pt x="4501368" y="4081817"/>
                </a:cubicBezTo>
                <a:cubicBezTo>
                  <a:pt x="4483498" y="4096752"/>
                  <a:pt x="4472127" y="4113738"/>
                  <a:pt x="4473367" y="4137847"/>
                </a:cubicBezTo>
                <a:cubicBezTo>
                  <a:pt x="4472351" y="4155528"/>
                  <a:pt x="4478984" y="4166194"/>
                  <a:pt x="4497959" y="4166752"/>
                </a:cubicBezTo>
                <a:cubicBezTo>
                  <a:pt x="4518219" y="4166859"/>
                  <a:pt x="4532952" y="4171794"/>
                  <a:pt x="4539336" y="4194097"/>
                </a:cubicBezTo>
                <a:cubicBezTo>
                  <a:pt x="4546556" y="4214663"/>
                  <a:pt x="4532026" y="4222651"/>
                  <a:pt x="4517947" y="4231925"/>
                </a:cubicBezTo>
                <a:cubicBezTo>
                  <a:pt x="4513254" y="4235016"/>
                  <a:pt x="4504252" y="4238176"/>
                  <a:pt x="4508696" y="4246722"/>
                </a:cubicBezTo>
                <a:cubicBezTo>
                  <a:pt x="4512306" y="4257005"/>
                  <a:pt x="4521511" y="4266768"/>
                  <a:pt x="4532701" y="4265727"/>
                </a:cubicBezTo>
                <a:cubicBezTo>
                  <a:pt x="4563701" y="4263508"/>
                  <a:pt x="4567446" y="4282407"/>
                  <a:pt x="4569138" y="4307801"/>
                </a:cubicBezTo>
                <a:lnTo>
                  <a:pt x="4581251" y="4356204"/>
                </a:lnTo>
                <a:lnTo>
                  <a:pt x="4581479" y="4355344"/>
                </a:lnTo>
                <a:cubicBezTo>
                  <a:pt x="4582962" y="4353590"/>
                  <a:pt x="4585120" y="4352240"/>
                  <a:pt x="4587279" y="4351160"/>
                </a:cubicBezTo>
                <a:cubicBezTo>
                  <a:pt x="4608862" y="4339284"/>
                  <a:pt x="4626128" y="4319848"/>
                  <a:pt x="4644474" y="4303653"/>
                </a:cubicBezTo>
                <a:cubicBezTo>
                  <a:pt x="4672532" y="4278820"/>
                  <a:pt x="4703828" y="4264784"/>
                  <a:pt x="4741598" y="4274501"/>
                </a:cubicBezTo>
                <a:cubicBezTo>
                  <a:pt x="4756706" y="4277740"/>
                  <a:pt x="4766419" y="4269103"/>
                  <a:pt x="4775052" y="4260465"/>
                </a:cubicBezTo>
                <a:cubicBezTo>
                  <a:pt x="4795556" y="4241031"/>
                  <a:pt x="4806348" y="4242110"/>
                  <a:pt x="4822535" y="4263704"/>
                </a:cubicBezTo>
                <a:cubicBezTo>
                  <a:pt x="4838722" y="4287458"/>
                  <a:pt x="4838722" y="4287458"/>
                  <a:pt x="4862464" y="4268023"/>
                </a:cubicBezTo>
                <a:cubicBezTo>
                  <a:pt x="4867859" y="4263704"/>
                  <a:pt x="4872176" y="4260465"/>
                  <a:pt x="4878651" y="4266943"/>
                </a:cubicBezTo>
                <a:cubicBezTo>
                  <a:pt x="4903472" y="4288537"/>
                  <a:pt x="4928292" y="4307972"/>
                  <a:pt x="4952034" y="4330645"/>
                </a:cubicBezTo>
                <a:cubicBezTo>
                  <a:pt x="4970379" y="4346841"/>
                  <a:pt x="4982250" y="4367356"/>
                  <a:pt x="4987646" y="4391109"/>
                </a:cubicBezTo>
                <a:cubicBezTo>
                  <a:pt x="4991963" y="4406225"/>
                  <a:pt x="5030812" y="4435377"/>
                  <a:pt x="5046999" y="4436456"/>
                </a:cubicBezTo>
                <a:cubicBezTo>
                  <a:pt x="5052395" y="4436456"/>
                  <a:pt x="5056712" y="4436456"/>
                  <a:pt x="5058870" y="4429978"/>
                </a:cubicBezTo>
                <a:cubicBezTo>
                  <a:pt x="5073978" y="4396508"/>
                  <a:pt x="5103116" y="4380312"/>
                  <a:pt x="5134411" y="4366276"/>
                </a:cubicBezTo>
                <a:cubicBezTo>
                  <a:pt x="5140886" y="4363037"/>
                  <a:pt x="5146282" y="4360877"/>
                  <a:pt x="5151678" y="4357638"/>
                </a:cubicBezTo>
                <a:cubicBezTo>
                  <a:pt x="5168944" y="4346841"/>
                  <a:pt x="5184052" y="4341442"/>
                  <a:pt x="5205636" y="4349000"/>
                </a:cubicBezTo>
                <a:cubicBezTo>
                  <a:pt x="5227219" y="4356559"/>
                  <a:pt x="5248802" y="4344681"/>
                  <a:pt x="5268226" y="4333885"/>
                </a:cubicBezTo>
                <a:cubicBezTo>
                  <a:pt x="5277939" y="4329566"/>
                  <a:pt x="5284414" y="4327406"/>
                  <a:pt x="5294126" y="4334964"/>
                </a:cubicBezTo>
                <a:cubicBezTo>
                  <a:pt x="5335134" y="4365196"/>
                  <a:pt x="5380459" y="4387870"/>
                  <a:pt x="5433338" y="4392189"/>
                </a:cubicBezTo>
                <a:cubicBezTo>
                  <a:pt x="5440892" y="4393268"/>
                  <a:pt x="5444129" y="4395428"/>
                  <a:pt x="5441971" y="4402986"/>
                </a:cubicBezTo>
                <a:cubicBezTo>
                  <a:pt x="5435496" y="4433217"/>
                  <a:pt x="5451683" y="4452652"/>
                  <a:pt x="5473266" y="4468847"/>
                </a:cubicBezTo>
                <a:cubicBezTo>
                  <a:pt x="5482979" y="4476405"/>
                  <a:pt x="5488374" y="4482883"/>
                  <a:pt x="5481899" y="4496919"/>
                </a:cubicBezTo>
                <a:cubicBezTo>
                  <a:pt x="5472187" y="4514195"/>
                  <a:pt x="5480820" y="4530390"/>
                  <a:pt x="5492691" y="4544426"/>
                </a:cubicBezTo>
                <a:cubicBezTo>
                  <a:pt x="5502403" y="4556303"/>
                  <a:pt x="5514274" y="4568179"/>
                  <a:pt x="5523987" y="4580056"/>
                </a:cubicBezTo>
                <a:cubicBezTo>
                  <a:pt x="5528303" y="4585994"/>
                  <a:pt x="5530731" y="4591663"/>
                  <a:pt x="5529787" y="4596252"/>
                </a:cubicBezTo>
                <a:cubicBezTo>
                  <a:pt x="5528843" y="4600841"/>
                  <a:pt x="5524527" y="4604349"/>
                  <a:pt x="5515353" y="4605969"/>
                </a:cubicBezTo>
                <a:cubicBezTo>
                  <a:pt x="5511037" y="4605969"/>
                  <a:pt x="5506720" y="4607049"/>
                  <a:pt x="5502403" y="4609208"/>
                </a:cubicBezTo>
                <a:cubicBezTo>
                  <a:pt x="5497008" y="4611367"/>
                  <a:pt x="5488374" y="4611367"/>
                  <a:pt x="5487295" y="4618925"/>
                </a:cubicBezTo>
                <a:cubicBezTo>
                  <a:pt x="5487295" y="4625403"/>
                  <a:pt x="5492691" y="4629722"/>
                  <a:pt x="5497008" y="4632961"/>
                </a:cubicBezTo>
                <a:cubicBezTo>
                  <a:pt x="5515353" y="4649157"/>
                  <a:pt x="5514274" y="4655635"/>
                  <a:pt x="5491612" y="4665352"/>
                </a:cubicBezTo>
                <a:cubicBezTo>
                  <a:pt x="5486216" y="4667512"/>
                  <a:pt x="5481899" y="4668591"/>
                  <a:pt x="5477583" y="4671830"/>
                </a:cubicBezTo>
                <a:cubicBezTo>
                  <a:pt x="5471108" y="4676149"/>
                  <a:pt x="5465712" y="4680468"/>
                  <a:pt x="5470029" y="4691265"/>
                </a:cubicBezTo>
                <a:cubicBezTo>
                  <a:pt x="5475424" y="4700983"/>
                  <a:pt x="5479741" y="4700983"/>
                  <a:pt x="5488374" y="4698823"/>
                </a:cubicBezTo>
                <a:lnTo>
                  <a:pt x="5504696" y="4697004"/>
                </a:lnTo>
                <a:lnTo>
                  <a:pt x="5420769" y="4781392"/>
                </a:lnTo>
                <a:lnTo>
                  <a:pt x="5413913" y="4776562"/>
                </a:lnTo>
                <a:cubicBezTo>
                  <a:pt x="5404200" y="4774402"/>
                  <a:pt x="5397726" y="4777641"/>
                  <a:pt x="5393409" y="4786279"/>
                </a:cubicBezTo>
                <a:cubicBezTo>
                  <a:pt x="5390171" y="4792757"/>
                  <a:pt x="5388013" y="4799235"/>
                  <a:pt x="5384776" y="4805713"/>
                </a:cubicBezTo>
                <a:cubicBezTo>
                  <a:pt x="5379380" y="4816510"/>
                  <a:pt x="5371826" y="4820829"/>
                  <a:pt x="5358876" y="4818670"/>
                </a:cubicBezTo>
                <a:cubicBezTo>
                  <a:pt x="5320026" y="4812192"/>
                  <a:pt x="5293047" y="4826228"/>
                  <a:pt x="5275781" y="4860778"/>
                </a:cubicBezTo>
                <a:cubicBezTo>
                  <a:pt x="5272543" y="4866176"/>
                  <a:pt x="5273622" y="4878053"/>
                  <a:pt x="5263910" y="4875894"/>
                </a:cubicBezTo>
                <a:cubicBezTo>
                  <a:pt x="5254197" y="4874814"/>
                  <a:pt x="5252039" y="4865097"/>
                  <a:pt x="5250960" y="4855379"/>
                </a:cubicBezTo>
                <a:cubicBezTo>
                  <a:pt x="5250960" y="4854300"/>
                  <a:pt x="5250960" y="4853220"/>
                  <a:pt x="5250960" y="4852140"/>
                </a:cubicBezTo>
                <a:cubicBezTo>
                  <a:pt x="5246643" y="4826228"/>
                  <a:pt x="5234772" y="4818670"/>
                  <a:pt x="5214269" y="4831626"/>
                </a:cubicBezTo>
                <a:cubicBezTo>
                  <a:pt x="5194844" y="4843503"/>
                  <a:pt x="5179736" y="4840264"/>
                  <a:pt x="5163548" y="4829467"/>
                </a:cubicBezTo>
                <a:cubicBezTo>
                  <a:pt x="5141965" y="4815431"/>
                  <a:pt x="5119303" y="4804634"/>
                  <a:pt x="5092324" y="4811112"/>
                </a:cubicBezTo>
                <a:cubicBezTo>
                  <a:pt x="5080453" y="4814351"/>
                  <a:pt x="5075057" y="4802474"/>
                  <a:pt x="5072899" y="4794916"/>
                </a:cubicBezTo>
                <a:cubicBezTo>
                  <a:pt x="5063187" y="4766844"/>
                  <a:pt x="5044841" y="4753888"/>
                  <a:pt x="5016783" y="4750649"/>
                </a:cubicBezTo>
                <a:cubicBezTo>
                  <a:pt x="4999517" y="4748489"/>
                  <a:pt x="4996279" y="4742011"/>
                  <a:pt x="5007071" y="4724736"/>
                </a:cubicBezTo>
                <a:cubicBezTo>
                  <a:pt x="5029733" y="4688026"/>
                  <a:pt x="5013546" y="4634041"/>
                  <a:pt x="4975775" y="4617845"/>
                </a:cubicBezTo>
                <a:cubicBezTo>
                  <a:pt x="4968221" y="4614606"/>
                  <a:pt x="4958509" y="4610288"/>
                  <a:pt x="4952034" y="4617845"/>
                </a:cubicBezTo>
                <a:cubicBezTo>
                  <a:pt x="4945559" y="4625403"/>
                  <a:pt x="4942321" y="4636200"/>
                  <a:pt x="4948796" y="4645918"/>
                </a:cubicBezTo>
                <a:cubicBezTo>
                  <a:pt x="4952034" y="4652396"/>
                  <a:pt x="4957430" y="4658874"/>
                  <a:pt x="4961746" y="4665352"/>
                </a:cubicBezTo>
                <a:cubicBezTo>
                  <a:pt x="4967142" y="4671830"/>
                  <a:pt x="4970379" y="4678309"/>
                  <a:pt x="4963904" y="4683708"/>
                </a:cubicBezTo>
                <a:cubicBezTo>
                  <a:pt x="4956350" y="4690186"/>
                  <a:pt x="4949875" y="4685867"/>
                  <a:pt x="4944480" y="4680468"/>
                </a:cubicBezTo>
                <a:cubicBezTo>
                  <a:pt x="4939084" y="4676149"/>
                  <a:pt x="4934767" y="4669671"/>
                  <a:pt x="4930451" y="4665352"/>
                </a:cubicBezTo>
                <a:cubicBezTo>
                  <a:pt x="4920738" y="4655635"/>
                  <a:pt x="4907788" y="4650236"/>
                  <a:pt x="4896997" y="4659954"/>
                </a:cubicBezTo>
                <a:cubicBezTo>
                  <a:pt x="4888363" y="4668591"/>
                  <a:pt x="4896997" y="4680468"/>
                  <a:pt x="4903472" y="4689106"/>
                </a:cubicBezTo>
                <a:cubicBezTo>
                  <a:pt x="4908867" y="4696664"/>
                  <a:pt x="4918580" y="4702062"/>
                  <a:pt x="4921817" y="4711780"/>
                </a:cubicBezTo>
                <a:cubicBezTo>
                  <a:pt x="4927213" y="4725816"/>
                  <a:pt x="4925055" y="4734453"/>
                  <a:pt x="4907788" y="4733374"/>
                </a:cubicBezTo>
                <a:cubicBezTo>
                  <a:pt x="4884047" y="4732294"/>
                  <a:pt x="4864622" y="4722577"/>
                  <a:pt x="4846276" y="4709620"/>
                </a:cubicBezTo>
                <a:cubicBezTo>
                  <a:pt x="4822535" y="4693425"/>
                  <a:pt x="4809585" y="4692345"/>
                  <a:pt x="4786923" y="4709620"/>
                </a:cubicBezTo>
                <a:cubicBezTo>
                  <a:pt x="4778290" y="4715019"/>
                  <a:pt x="4770736" y="4723656"/>
                  <a:pt x="4763181" y="4731214"/>
                </a:cubicBezTo>
                <a:cubicBezTo>
                  <a:pt x="4759944" y="4734453"/>
                  <a:pt x="4756706" y="4739852"/>
                  <a:pt x="4751311" y="4737692"/>
                </a:cubicBezTo>
                <a:cubicBezTo>
                  <a:pt x="4744836" y="4735533"/>
                  <a:pt x="4743756" y="4730135"/>
                  <a:pt x="4744836" y="4725816"/>
                </a:cubicBezTo>
                <a:cubicBezTo>
                  <a:pt x="4749152" y="4706381"/>
                  <a:pt x="4740519" y="4702062"/>
                  <a:pt x="4723252" y="4703142"/>
                </a:cubicBezTo>
                <a:cubicBezTo>
                  <a:pt x="4701669" y="4704222"/>
                  <a:pt x="4686561" y="4690186"/>
                  <a:pt x="4674690" y="4675069"/>
                </a:cubicBezTo>
                <a:cubicBezTo>
                  <a:pt x="4664978" y="4663193"/>
                  <a:pt x="4657424" y="4662113"/>
                  <a:pt x="4648790" y="4673990"/>
                </a:cubicBezTo>
                <a:cubicBezTo>
                  <a:pt x="4644474" y="4680468"/>
                  <a:pt x="4640157" y="4684787"/>
                  <a:pt x="4631524" y="4682628"/>
                </a:cubicBezTo>
                <a:cubicBezTo>
                  <a:pt x="4619653" y="4680468"/>
                  <a:pt x="4621811" y="4671830"/>
                  <a:pt x="4619653" y="4664272"/>
                </a:cubicBezTo>
                <a:cubicBezTo>
                  <a:pt x="4618574" y="4659954"/>
                  <a:pt x="4618574" y="4654555"/>
                  <a:pt x="4617495" y="4649157"/>
                </a:cubicBezTo>
                <a:cubicBezTo>
                  <a:pt x="4615067" y="4627293"/>
                  <a:pt x="4605354" y="4618183"/>
                  <a:pt x="4590179" y="4622282"/>
                </a:cubicBezTo>
                <a:lnTo>
                  <a:pt x="4586817" y="4623974"/>
                </a:lnTo>
                <a:lnTo>
                  <a:pt x="4584630" y="4635875"/>
                </a:lnTo>
                <a:cubicBezTo>
                  <a:pt x="4576236" y="4677803"/>
                  <a:pt x="4574566" y="4681277"/>
                  <a:pt x="4531541" y="4686274"/>
                </a:cubicBezTo>
                <a:cubicBezTo>
                  <a:pt x="4507873" y="4688806"/>
                  <a:pt x="4494629" y="4696343"/>
                  <a:pt x="4492463" y="4723091"/>
                </a:cubicBezTo>
                <a:cubicBezTo>
                  <a:pt x="4490612" y="4742510"/>
                  <a:pt x="4481880" y="4762900"/>
                  <a:pt x="4462206" y="4772694"/>
                </a:cubicBezTo>
                <a:cubicBezTo>
                  <a:pt x="4443818" y="4782036"/>
                  <a:pt x="4447044" y="4795342"/>
                  <a:pt x="4452007" y="4809481"/>
                </a:cubicBezTo>
                <a:cubicBezTo>
                  <a:pt x="4456970" y="4823620"/>
                  <a:pt x="4462768" y="4836023"/>
                  <a:pt x="4457827" y="4850751"/>
                </a:cubicBezTo>
                <a:cubicBezTo>
                  <a:pt x="4454555" y="4862006"/>
                  <a:pt x="4463241" y="4866176"/>
                  <a:pt x="4471025" y="4867775"/>
                </a:cubicBezTo>
                <a:cubicBezTo>
                  <a:pt x="4482667" y="4868020"/>
                  <a:pt x="4492572" y="4867431"/>
                  <a:pt x="4503311" y="4865104"/>
                </a:cubicBezTo>
                <a:cubicBezTo>
                  <a:pt x="4539907" y="4862365"/>
                  <a:pt x="4542095" y="4864484"/>
                  <a:pt x="4538327" y="4899014"/>
                </a:cubicBezTo>
                <a:cubicBezTo>
                  <a:pt x="4537311" y="4916696"/>
                  <a:pt x="4531535" y="4933161"/>
                  <a:pt x="4528782" y="4950009"/>
                </a:cubicBezTo>
                <a:cubicBezTo>
                  <a:pt x="4524359" y="4970331"/>
                  <a:pt x="4519936" y="4990652"/>
                  <a:pt x="4490855" y="4977760"/>
                </a:cubicBezTo>
                <a:cubicBezTo>
                  <a:pt x="4480882" y="4974042"/>
                  <a:pt x="4471948" y="4981510"/>
                  <a:pt x="4473436" y="4993981"/>
                </a:cubicBezTo>
                <a:cubicBezTo>
                  <a:pt x="4474542" y="5009475"/>
                  <a:pt x="4474812" y="5026705"/>
                  <a:pt x="4496877" y="5031953"/>
                </a:cubicBezTo>
                <a:cubicBezTo>
                  <a:pt x="4498163" y="5031502"/>
                  <a:pt x="4499449" y="5031051"/>
                  <a:pt x="4502473" y="5031433"/>
                </a:cubicBezTo>
                <a:cubicBezTo>
                  <a:pt x="4514114" y="5031678"/>
                  <a:pt x="4528961" y="5016360"/>
                  <a:pt x="4538301" y="5034738"/>
                </a:cubicBezTo>
                <a:cubicBezTo>
                  <a:pt x="4547190" y="5051831"/>
                  <a:pt x="4547911" y="5070346"/>
                  <a:pt x="4541751" y="5089834"/>
                </a:cubicBezTo>
                <a:cubicBezTo>
                  <a:pt x="4535524" y="5105014"/>
                  <a:pt x="4524085" y="5117692"/>
                  <a:pt x="4511743" y="5127799"/>
                </a:cubicBezTo>
                <a:cubicBezTo>
                  <a:pt x="4501522" y="5135718"/>
                  <a:pt x="4492520" y="5138878"/>
                  <a:pt x="4485820" y="5123905"/>
                </a:cubicBezTo>
                <a:cubicBezTo>
                  <a:pt x="4482729" y="5119215"/>
                  <a:pt x="4478352" y="5114976"/>
                  <a:pt x="4473208" y="5116782"/>
                </a:cubicBezTo>
                <a:cubicBezTo>
                  <a:pt x="4464206" y="5119942"/>
                  <a:pt x="4465175" y="5126821"/>
                  <a:pt x="4466980" y="5131962"/>
                </a:cubicBezTo>
                <a:cubicBezTo>
                  <a:pt x="4469304" y="5142697"/>
                  <a:pt x="4472462" y="5151694"/>
                  <a:pt x="4474335" y="5161144"/>
                </a:cubicBezTo>
                <a:cubicBezTo>
                  <a:pt x="4481306" y="5193347"/>
                  <a:pt x="4464790" y="5212139"/>
                  <a:pt x="4432436" y="5210502"/>
                </a:cubicBezTo>
                <a:cubicBezTo>
                  <a:pt x="4428127" y="5210571"/>
                  <a:pt x="4425104" y="5210188"/>
                  <a:pt x="4422080" y="5209806"/>
                </a:cubicBezTo>
                <a:cubicBezTo>
                  <a:pt x="4373257" y="5202400"/>
                  <a:pt x="4367278" y="5205942"/>
                  <a:pt x="4363328" y="5256417"/>
                </a:cubicBezTo>
                <a:cubicBezTo>
                  <a:pt x="4361478" y="5275836"/>
                  <a:pt x="4355634" y="5287993"/>
                  <a:pt x="4335441" y="5292194"/>
                </a:cubicBezTo>
                <a:cubicBezTo>
                  <a:pt x="4327273" y="5293617"/>
                  <a:pt x="4321294" y="5297160"/>
                  <a:pt x="4315316" y="5300702"/>
                </a:cubicBezTo>
                <a:cubicBezTo>
                  <a:pt x="4277186" y="5315531"/>
                  <a:pt x="4252570" y="5340053"/>
                  <a:pt x="4258458" y="5385631"/>
                </a:cubicBezTo>
                <a:cubicBezTo>
                  <a:pt x="4260014" y="5402410"/>
                  <a:pt x="4258998" y="5420092"/>
                  <a:pt x="4253222" y="5436557"/>
                </a:cubicBezTo>
                <a:cubicBezTo>
                  <a:pt x="4249950" y="5447812"/>
                  <a:pt x="4241467" y="5456565"/>
                  <a:pt x="4229825" y="5456320"/>
                </a:cubicBezTo>
                <a:cubicBezTo>
                  <a:pt x="4215611" y="5456978"/>
                  <a:pt x="4216694" y="5443604"/>
                  <a:pt x="4214822" y="5434155"/>
                </a:cubicBezTo>
                <a:cubicBezTo>
                  <a:pt x="4200113" y="5375792"/>
                  <a:pt x="4200113" y="5375792"/>
                  <a:pt x="4150160" y="5406321"/>
                </a:cubicBezTo>
                <a:cubicBezTo>
                  <a:pt x="4132223" y="5416948"/>
                  <a:pt x="4114670" y="5424554"/>
                  <a:pt x="4094026" y="5427469"/>
                </a:cubicBezTo>
                <a:cubicBezTo>
                  <a:pt x="4072931" y="5429099"/>
                  <a:pt x="4056144" y="5430660"/>
                  <a:pt x="4039855" y="5408946"/>
                </a:cubicBezTo>
                <a:cubicBezTo>
                  <a:pt x="4014812" y="5378755"/>
                  <a:pt x="3962333" y="5385626"/>
                  <a:pt x="3927948" y="5419353"/>
                </a:cubicBezTo>
                <a:cubicBezTo>
                  <a:pt x="3922421" y="5424181"/>
                  <a:pt x="3918630" y="5429843"/>
                  <a:pt x="3912268" y="5436408"/>
                </a:cubicBezTo>
                <a:cubicBezTo>
                  <a:pt x="3896746" y="5408649"/>
                  <a:pt x="3879554" y="5384365"/>
                  <a:pt x="3845463" y="5381894"/>
                </a:cubicBezTo>
                <a:cubicBezTo>
                  <a:pt x="3814396" y="5379805"/>
                  <a:pt x="3790931" y="5395261"/>
                  <a:pt x="3765729" y="5409883"/>
                </a:cubicBezTo>
                <a:cubicBezTo>
                  <a:pt x="3760450" y="5403073"/>
                  <a:pt x="3764691" y="5398697"/>
                  <a:pt x="3765910" y="5393938"/>
                </a:cubicBezTo>
                <a:cubicBezTo>
                  <a:pt x="3781704" y="5356630"/>
                  <a:pt x="3760136" y="5328107"/>
                  <a:pt x="3718780" y="5329630"/>
                </a:cubicBezTo>
                <a:cubicBezTo>
                  <a:pt x="3676138" y="5331605"/>
                  <a:pt x="3676138" y="5331605"/>
                  <a:pt x="3675462" y="5288528"/>
                </a:cubicBezTo>
                <a:cubicBezTo>
                  <a:pt x="3674989" y="5258375"/>
                  <a:pt x="3649630" y="5235514"/>
                  <a:pt x="3619984" y="5241589"/>
                </a:cubicBezTo>
                <a:cubicBezTo>
                  <a:pt x="3604935" y="5243984"/>
                  <a:pt x="3608161" y="5257289"/>
                  <a:pt x="3608747" y="5267190"/>
                </a:cubicBezTo>
                <a:cubicBezTo>
                  <a:pt x="3610304" y="5283969"/>
                  <a:pt x="3614048" y="5302867"/>
                  <a:pt x="3596563" y="5314780"/>
                </a:cubicBezTo>
                <a:cubicBezTo>
                  <a:pt x="3584605" y="5321866"/>
                  <a:pt x="3576054" y="5326311"/>
                  <a:pt x="3574430" y="5305224"/>
                </a:cubicBezTo>
                <a:cubicBezTo>
                  <a:pt x="3568858" y="5252317"/>
                  <a:pt x="3550132" y="5240121"/>
                  <a:pt x="3499909" y="5253419"/>
                </a:cubicBezTo>
                <a:cubicBezTo>
                  <a:pt x="3436375" y="5269946"/>
                  <a:pt x="3375977" y="5266603"/>
                  <a:pt x="3315692" y="5243008"/>
                </a:cubicBezTo>
                <a:cubicBezTo>
                  <a:pt x="3285324" y="5230567"/>
                  <a:pt x="3255024" y="5222434"/>
                  <a:pt x="3221835" y="5222534"/>
                </a:cubicBezTo>
                <a:cubicBezTo>
                  <a:pt x="3204598" y="5222810"/>
                  <a:pt x="3190452" y="5227776"/>
                  <a:pt x="3181652" y="5243858"/>
                </a:cubicBezTo>
                <a:cubicBezTo>
                  <a:pt x="3173687" y="5258205"/>
                  <a:pt x="3161797" y="5269597"/>
                  <a:pt x="3144425" y="5261258"/>
                </a:cubicBezTo>
                <a:cubicBezTo>
                  <a:pt x="3126601" y="5251633"/>
                  <a:pt x="3137138" y="5236384"/>
                  <a:pt x="3142147" y="5225963"/>
                </a:cubicBezTo>
                <a:cubicBezTo>
                  <a:pt x="3154669" y="5199910"/>
                  <a:pt x="3149638" y="5181464"/>
                  <a:pt x="3132063" y="5160201"/>
                </a:cubicBezTo>
                <a:cubicBezTo>
                  <a:pt x="3063049" y="5074700"/>
                  <a:pt x="3023997" y="4975794"/>
                  <a:pt x="2992209" y="4872894"/>
                </a:cubicBezTo>
                <a:cubicBezTo>
                  <a:pt x="2975447" y="4821027"/>
                  <a:pt x="2975447" y="4821027"/>
                  <a:pt x="2922382" y="4817997"/>
                </a:cubicBezTo>
                <a:cubicBezTo>
                  <a:pt x="2874077" y="4816185"/>
                  <a:pt x="2874077" y="4816185"/>
                  <a:pt x="2852371" y="4861342"/>
                </a:cubicBezTo>
                <a:cubicBezTo>
                  <a:pt x="2837344" y="4892605"/>
                  <a:pt x="2822769" y="4925153"/>
                  <a:pt x="2799055" y="4952246"/>
                </a:cubicBezTo>
                <a:cubicBezTo>
                  <a:pt x="2786330" y="4965376"/>
                  <a:pt x="2772319" y="4978957"/>
                  <a:pt x="2750389" y="4982323"/>
                </a:cubicBezTo>
                <a:cubicBezTo>
                  <a:pt x="2748832" y="4965544"/>
                  <a:pt x="2755511" y="4951650"/>
                  <a:pt x="2759166" y="4937373"/>
                </a:cubicBezTo>
                <a:cubicBezTo>
                  <a:pt x="2766477" y="4908818"/>
                  <a:pt x="2768193" y="4880785"/>
                  <a:pt x="2758717" y="4853791"/>
                </a:cubicBezTo>
                <a:cubicBezTo>
                  <a:pt x="2754589" y="4837915"/>
                  <a:pt x="2758831" y="4833539"/>
                  <a:pt x="2773428" y="4829858"/>
                </a:cubicBezTo>
                <a:cubicBezTo>
                  <a:pt x="2788026" y="4826178"/>
                  <a:pt x="2803458" y="4820761"/>
                  <a:pt x="2813611" y="4808534"/>
                </a:cubicBezTo>
                <a:cubicBezTo>
                  <a:pt x="2819072" y="4799399"/>
                  <a:pt x="2822795" y="4789429"/>
                  <a:pt x="2820922" y="4779980"/>
                </a:cubicBezTo>
                <a:cubicBezTo>
                  <a:pt x="2816861" y="4768411"/>
                  <a:pt x="2805287" y="4772474"/>
                  <a:pt x="2796668" y="4772612"/>
                </a:cubicBezTo>
                <a:cubicBezTo>
                  <a:pt x="2738910" y="4772674"/>
                  <a:pt x="2681603" y="4774021"/>
                  <a:pt x="2622107" y="4773249"/>
                </a:cubicBezTo>
                <a:lnTo>
                  <a:pt x="2591932" y="4771776"/>
                </a:lnTo>
                <a:lnTo>
                  <a:pt x="2581363" y="4784316"/>
                </a:lnTo>
                <a:cubicBezTo>
                  <a:pt x="2571376" y="4791016"/>
                  <a:pt x="2557281" y="4791697"/>
                  <a:pt x="2533973" y="4788867"/>
                </a:cubicBezTo>
                <a:cubicBezTo>
                  <a:pt x="2506747" y="4786794"/>
                  <a:pt x="2502347" y="4789267"/>
                  <a:pt x="2494641" y="4816770"/>
                </a:cubicBezTo>
                <a:cubicBezTo>
                  <a:pt x="2487900" y="4840836"/>
                  <a:pt x="2498074" y="4864084"/>
                  <a:pt x="2502607" y="4887605"/>
                </a:cubicBezTo>
                <a:cubicBezTo>
                  <a:pt x="2510439" y="4932445"/>
                  <a:pt x="2523908" y="4977012"/>
                  <a:pt x="2530777" y="5025291"/>
                </a:cubicBezTo>
                <a:cubicBezTo>
                  <a:pt x="2534074" y="5046611"/>
                  <a:pt x="2534207" y="5072605"/>
                  <a:pt x="2526229" y="5094470"/>
                </a:cubicBezTo>
                <a:cubicBezTo>
                  <a:pt x="2521688" y="5117298"/>
                  <a:pt x="2507797" y="5133797"/>
                  <a:pt x="2476444" y="5139834"/>
                </a:cubicBezTo>
                <a:cubicBezTo>
                  <a:pt x="2488275" y="5104218"/>
                  <a:pt x="2448950" y="5085771"/>
                  <a:pt x="2456379" y="5052626"/>
                </a:cubicBezTo>
                <a:cubicBezTo>
                  <a:pt x="2435621" y="5020847"/>
                  <a:pt x="2438376" y="4984539"/>
                  <a:pt x="2428893" y="4952213"/>
                </a:cubicBezTo>
                <a:cubicBezTo>
                  <a:pt x="2417209" y="4921126"/>
                  <a:pt x="2408687" y="4885362"/>
                  <a:pt x="2404842" y="4852765"/>
                </a:cubicBezTo>
                <a:cubicBezTo>
                  <a:pt x="2399900" y="4797610"/>
                  <a:pt x="2345447" y="4793459"/>
                  <a:pt x="2313953" y="4819852"/>
                </a:cubicBezTo>
                <a:cubicBezTo>
                  <a:pt x="2307352" y="4823562"/>
                  <a:pt x="2305426" y="4830439"/>
                  <a:pt x="2305700" y="4836077"/>
                </a:cubicBezTo>
                <a:cubicBezTo>
                  <a:pt x="2303773" y="4842953"/>
                  <a:pt x="2307486" y="4849557"/>
                  <a:pt x="2307760" y="4855197"/>
                </a:cubicBezTo>
                <a:cubicBezTo>
                  <a:pt x="2301982" y="4875825"/>
                  <a:pt x="2291528" y="4893287"/>
                  <a:pt x="2273652" y="4897541"/>
                </a:cubicBezTo>
                <a:cubicBezTo>
                  <a:pt x="2253574" y="4903035"/>
                  <a:pt x="2241475" y="4886661"/>
                  <a:pt x="2229651" y="4875929"/>
                </a:cubicBezTo>
                <a:cubicBezTo>
                  <a:pt x="2223740" y="4870562"/>
                  <a:pt x="2222228" y="4862722"/>
                  <a:pt x="2219754" y="4858320"/>
                </a:cubicBezTo>
                <a:cubicBezTo>
                  <a:pt x="2192808" y="4815533"/>
                  <a:pt x="2150045" y="4796122"/>
                  <a:pt x="2105490" y="4809581"/>
                </a:cubicBezTo>
                <a:cubicBezTo>
                  <a:pt x="2095451" y="4812326"/>
                  <a:pt x="2084449" y="4818511"/>
                  <a:pt x="2075923" y="4829098"/>
                </a:cubicBezTo>
                <a:cubicBezTo>
                  <a:pt x="2054741" y="4858383"/>
                  <a:pt x="2019261" y="4872533"/>
                  <a:pt x="1995879" y="4903056"/>
                </a:cubicBezTo>
                <a:cubicBezTo>
                  <a:pt x="1992718" y="4907729"/>
                  <a:pt x="1978003" y="4907311"/>
                  <a:pt x="1971127" y="4905382"/>
                </a:cubicBezTo>
                <a:cubicBezTo>
                  <a:pt x="1957377" y="4901526"/>
                  <a:pt x="1943627" y="4897668"/>
                  <a:pt x="1929602" y="4888172"/>
                </a:cubicBezTo>
                <a:cubicBezTo>
                  <a:pt x="1917777" y="4877438"/>
                  <a:pt x="1908976" y="4882386"/>
                  <a:pt x="1900724" y="4898612"/>
                </a:cubicBezTo>
                <a:cubicBezTo>
                  <a:pt x="1899761" y="4902049"/>
                  <a:pt x="1900035" y="4907689"/>
                  <a:pt x="1896871" y="4912363"/>
                </a:cubicBezTo>
                <a:cubicBezTo>
                  <a:pt x="1891507" y="4918275"/>
                  <a:pt x="1883944" y="4925423"/>
                  <a:pt x="1877068" y="4923495"/>
                </a:cubicBezTo>
                <a:cubicBezTo>
                  <a:pt x="1865518" y="4918402"/>
                  <a:pt x="1869644" y="4910289"/>
                  <a:pt x="1870333" y="4901212"/>
                </a:cubicBezTo>
                <a:cubicBezTo>
                  <a:pt x="1875838" y="4874945"/>
                  <a:pt x="1893855" y="4850334"/>
                  <a:pt x="1885608" y="4820209"/>
                </a:cubicBezTo>
                <a:cubicBezTo>
                  <a:pt x="1882860" y="4810168"/>
                  <a:pt x="1874473" y="4800399"/>
                  <a:pt x="1867872" y="4804109"/>
                </a:cubicBezTo>
                <a:cubicBezTo>
                  <a:pt x="1856871" y="4810294"/>
                  <a:pt x="1844630" y="4814276"/>
                  <a:pt x="1837342" y="4827064"/>
                </a:cubicBezTo>
                <a:cubicBezTo>
                  <a:pt x="1832253" y="4838614"/>
                  <a:pt x="1815886" y="4850711"/>
                  <a:pt x="1799662" y="4842451"/>
                </a:cubicBezTo>
                <a:cubicBezTo>
                  <a:pt x="1782199" y="4831991"/>
                  <a:pt x="1762537" y="4822766"/>
                  <a:pt x="1758003" y="4799247"/>
                </a:cubicBezTo>
                <a:cubicBezTo>
                  <a:pt x="1758965" y="4795808"/>
                  <a:pt x="1769967" y="4789623"/>
                  <a:pt x="1769692" y="4783984"/>
                </a:cubicBezTo>
                <a:cubicBezTo>
                  <a:pt x="1765706" y="4771742"/>
                  <a:pt x="1760484" y="4757298"/>
                  <a:pt x="1743295" y="4752477"/>
                </a:cubicBezTo>
                <a:cubicBezTo>
                  <a:pt x="1699843" y="4742143"/>
                  <a:pt x="1659281" y="4721494"/>
                  <a:pt x="1616518" y="4702082"/>
                </a:cubicBezTo>
                <a:cubicBezTo>
                  <a:pt x="1589980" y="4690930"/>
                  <a:pt x="1563302" y="4700133"/>
                  <a:pt x="1541847" y="4723780"/>
                </a:cubicBezTo>
                <a:cubicBezTo>
                  <a:pt x="1515028" y="4753336"/>
                  <a:pt x="1513791" y="4751137"/>
                  <a:pt x="1482305" y="4731179"/>
                </a:cubicBezTo>
                <a:cubicBezTo>
                  <a:pt x="1468280" y="4721683"/>
                  <a:pt x="1460166" y="4717553"/>
                  <a:pt x="1473783" y="4695417"/>
                </a:cubicBezTo>
                <a:cubicBezTo>
                  <a:pt x="1493726" y="4663929"/>
                  <a:pt x="1488645" y="4629131"/>
                  <a:pt x="1468846" y="4593913"/>
                </a:cubicBezTo>
                <a:cubicBezTo>
                  <a:pt x="1444102" y="4549890"/>
                  <a:pt x="1408904" y="4523329"/>
                  <a:pt x="1363940" y="4505154"/>
                </a:cubicBezTo>
                <a:cubicBezTo>
                  <a:pt x="1355828" y="4501025"/>
                  <a:pt x="1348953" y="4499096"/>
                  <a:pt x="1341662" y="4511882"/>
                </a:cubicBezTo>
                <a:cubicBezTo>
                  <a:pt x="1330247" y="4532784"/>
                  <a:pt x="1307968" y="4539514"/>
                  <a:pt x="1289128" y="4547206"/>
                </a:cubicBezTo>
                <a:cubicBezTo>
                  <a:pt x="1263686" y="4558610"/>
                  <a:pt x="1224087" y="4534523"/>
                  <a:pt x="1221480" y="4504127"/>
                </a:cubicBezTo>
                <a:cubicBezTo>
                  <a:pt x="1218870" y="4473732"/>
                  <a:pt x="1214062" y="4444570"/>
                  <a:pt x="1220530" y="4414866"/>
                </a:cubicBezTo>
                <a:cubicBezTo>
                  <a:pt x="1223419" y="4404551"/>
                  <a:pt x="1225345" y="4397676"/>
                  <a:pt x="1239097" y="4401534"/>
                </a:cubicBezTo>
                <a:cubicBezTo>
                  <a:pt x="1249407" y="4404427"/>
                  <a:pt x="1253261" y="4390675"/>
                  <a:pt x="1251750" y="4382834"/>
                </a:cubicBezTo>
                <a:cubicBezTo>
                  <a:pt x="1251202" y="4371557"/>
                  <a:pt x="1255052" y="4357804"/>
                  <a:pt x="1254504" y="4346526"/>
                </a:cubicBezTo>
                <a:cubicBezTo>
                  <a:pt x="1251755" y="4336486"/>
                  <a:pt x="1238969" y="4329190"/>
                  <a:pt x="1230581" y="4319421"/>
                </a:cubicBezTo>
                <a:cubicBezTo>
                  <a:pt x="1216765" y="4302566"/>
                  <a:pt x="1202948" y="4285711"/>
                  <a:pt x="1186758" y="4272364"/>
                </a:cubicBezTo>
                <a:lnTo>
                  <a:pt x="1175214" y="4264939"/>
                </a:lnTo>
                <a:lnTo>
                  <a:pt x="1161833" y="4266023"/>
                </a:lnTo>
                <a:cubicBezTo>
                  <a:pt x="1154415" y="4265067"/>
                  <a:pt x="1147356" y="4262915"/>
                  <a:pt x="1140837" y="4258967"/>
                </a:cubicBezTo>
                <a:lnTo>
                  <a:pt x="1128185" y="4246273"/>
                </a:lnTo>
                <a:lnTo>
                  <a:pt x="1114189" y="4244360"/>
                </a:lnTo>
                <a:cubicBezTo>
                  <a:pt x="1109687" y="4244719"/>
                  <a:pt x="1105528" y="4246333"/>
                  <a:pt x="1101745" y="4249907"/>
                </a:cubicBezTo>
                <a:cubicBezTo>
                  <a:pt x="1097344" y="4252381"/>
                  <a:pt x="1093356" y="4251725"/>
                  <a:pt x="1089334" y="4250366"/>
                </a:cubicBezTo>
                <a:lnTo>
                  <a:pt x="1081819" y="4248119"/>
                </a:lnTo>
                <a:lnTo>
                  <a:pt x="1066120" y="4264125"/>
                </a:lnTo>
                <a:cubicBezTo>
                  <a:pt x="1059898" y="4273698"/>
                  <a:pt x="1055110" y="4284226"/>
                  <a:pt x="1050323" y="4294755"/>
                </a:cubicBezTo>
                <a:cubicBezTo>
                  <a:pt x="1036917" y="4327300"/>
                  <a:pt x="1015857" y="4348360"/>
                  <a:pt x="983313" y="4357938"/>
                </a:cubicBezTo>
                <a:cubicBezTo>
                  <a:pt x="975658" y="4350281"/>
                  <a:pt x="968002" y="4342625"/>
                  <a:pt x="960346" y="4334969"/>
                </a:cubicBezTo>
                <a:cubicBezTo>
                  <a:pt x="971834" y="4319654"/>
                  <a:pt x="985236" y="4306251"/>
                  <a:pt x="1002467" y="4292849"/>
                </a:cubicBezTo>
                <a:cubicBezTo>
                  <a:pt x="1013954" y="4281362"/>
                  <a:pt x="1027355" y="4271788"/>
                  <a:pt x="1033100" y="4258387"/>
                </a:cubicBezTo>
                <a:cubicBezTo>
                  <a:pt x="1065652" y="4210525"/>
                  <a:pt x="1052257" y="4177986"/>
                  <a:pt x="998661" y="4158853"/>
                </a:cubicBezTo>
                <a:cubicBezTo>
                  <a:pt x="958462" y="4149287"/>
                  <a:pt x="954636" y="4141631"/>
                  <a:pt x="956556" y="4105261"/>
                </a:cubicBezTo>
                <a:cubicBezTo>
                  <a:pt x="960392" y="4063146"/>
                  <a:pt x="946994" y="4049748"/>
                  <a:pt x="904879" y="4057413"/>
                </a:cubicBezTo>
                <a:cubicBezTo>
                  <a:pt x="899136" y="4059328"/>
                  <a:pt x="891479" y="4063158"/>
                  <a:pt x="885736" y="4065073"/>
                </a:cubicBezTo>
                <a:cubicBezTo>
                  <a:pt x="843619" y="4080393"/>
                  <a:pt x="822567" y="4059341"/>
                  <a:pt x="818745" y="4013399"/>
                </a:cubicBezTo>
                <a:cubicBezTo>
                  <a:pt x="820662" y="4000000"/>
                  <a:pt x="822578" y="3986599"/>
                  <a:pt x="826409" y="3971284"/>
                </a:cubicBezTo>
                <a:cubicBezTo>
                  <a:pt x="834075" y="3917683"/>
                  <a:pt x="847483" y="3865997"/>
                  <a:pt x="870463" y="3816223"/>
                </a:cubicBezTo>
                <a:cubicBezTo>
                  <a:pt x="887698" y="3779849"/>
                  <a:pt x="883874" y="3753050"/>
                  <a:pt x="849420" y="3733913"/>
                </a:cubicBezTo>
                <a:cubicBezTo>
                  <a:pt x="845592" y="3730085"/>
                  <a:pt x="841764" y="3726257"/>
                  <a:pt x="837936" y="3722429"/>
                </a:cubicBezTo>
                <a:cubicBezTo>
                  <a:pt x="820712" y="3697547"/>
                  <a:pt x="820715" y="3682233"/>
                  <a:pt x="847517" y="3670743"/>
                </a:cubicBezTo>
                <a:lnTo>
                  <a:pt x="871187" y="3654468"/>
                </a:lnTo>
                <a:lnTo>
                  <a:pt x="862921" y="3655033"/>
                </a:lnTo>
                <a:lnTo>
                  <a:pt x="865726" y="3649731"/>
                </a:lnTo>
                <a:cubicBezTo>
                  <a:pt x="872742" y="3631304"/>
                  <a:pt x="907125" y="3594598"/>
                  <a:pt x="920326" y="3587177"/>
                </a:cubicBezTo>
                <a:lnTo>
                  <a:pt x="925490" y="3584399"/>
                </a:lnTo>
                <a:lnTo>
                  <a:pt x="928649" y="3574777"/>
                </a:lnTo>
                <a:cubicBezTo>
                  <a:pt x="929489" y="3567001"/>
                  <a:pt x="928593" y="3559165"/>
                  <a:pt x="925932" y="3550999"/>
                </a:cubicBezTo>
                <a:lnTo>
                  <a:pt x="917654" y="3534979"/>
                </a:lnTo>
                <a:lnTo>
                  <a:pt x="912238" y="3534153"/>
                </a:lnTo>
                <a:cubicBezTo>
                  <a:pt x="905209" y="3531949"/>
                  <a:pt x="898814" y="3528302"/>
                  <a:pt x="892558" y="3527474"/>
                </a:cubicBezTo>
                <a:cubicBezTo>
                  <a:pt x="879637" y="3494184"/>
                  <a:pt x="853232" y="3509027"/>
                  <a:pt x="830681" y="3510117"/>
                </a:cubicBezTo>
                <a:cubicBezTo>
                  <a:pt x="759587" y="3512423"/>
                  <a:pt x="693717" y="3529172"/>
                  <a:pt x="626610" y="3543722"/>
                </a:cubicBezTo>
                <a:cubicBezTo>
                  <a:pt x="613133" y="3545504"/>
                  <a:pt x="597458" y="3548522"/>
                  <a:pt x="581781" y="3551541"/>
                </a:cubicBezTo>
                <a:cubicBezTo>
                  <a:pt x="560466" y="3554832"/>
                  <a:pt x="538189" y="3561561"/>
                  <a:pt x="534885" y="3586592"/>
                </a:cubicBezTo>
                <a:cubicBezTo>
                  <a:pt x="531032" y="3600343"/>
                  <a:pt x="518793" y="3604326"/>
                  <a:pt x="508756" y="3607073"/>
                </a:cubicBezTo>
                <a:cubicBezTo>
                  <a:pt x="497754" y="3613256"/>
                  <a:pt x="482766" y="3607199"/>
                  <a:pt x="473000" y="3615583"/>
                </a:cubicBezTo>
                <a:cubicBezTo>
                  <a:pt x="468600" y="3618056"/>
                  <a:pt x="454850" y="3614200"/>
                  <a:pt x="451138" y="3607596"/>
                </a:cubicBezTo>
                <a:cubicBezTo>
                  <a:pt x="431341" y="3583966"/>
                  <a:pt x="418198" y="3540301"/>
                  <a:pt x="426615" y="3498773"/>
                </a:cubicBezTo>
                <a:lnTo>
                  <a:pt x="434951" y="3478138"/>
                </a:lnTo>
                <a:lnTo>
                  <a:pt x="0" y="347813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350">
                <a:latin typeface="Asap" panose="02000506040000020004" pitchFamily="2" charset="0"/>
                <a:cs typeface="Arial" pitchFamily="34" charset="0"/>
                <a:sym typeface="Asap" panose="02000506040000020004" pitchFamily="2" charset="0"/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altLang="ko-KR" dirty="0"/>
              <a:t>Your Picture Here And Send To Back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1520611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s and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E0FF43E-6C8E-4C07-8881-408A889C6F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267319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4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E0FF43E-6C8E-4C07-8881-408A889C6F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CB7E376F-0253-46E6-902C-2CA1892242C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2"/>
            <a:ext cx="9144002" cy="2820255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685800" rtl="0" eaLnBrk="1" fontAlgn="auto" latinLnBrk="1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50">
                <a:latin typeface="Asap" panose="02000506040000020004" pitchFamily="2" charset="0"/>
                <a:sym typeface="Asap" panose="02000506040000020004" pitchFamily="2" charset="0"/>
              </a:defRPr>
            </a:lvl1pPr>
          </a:lstStyle>
          <a:p>
            <a:r>
              <a:rPr lang="en-US" altLang="ko-KR" dirty="0"/>
              <a:t>Your Picture Here And Send To Back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262788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538619A-F96B-4A3E-A0C2-112D2320DC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70746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8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538619A-F96B-4A3E-A0C2-112D2320DC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18B8CAF3-9328-4AEF-8C03-A4E21A15B3D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1255" y="423035"/>
            <a:ext cx="4968014" cy="4297432"/>
          </a:xfrm>
          <a:custGeom>
            <a:avLst/>
            <a:gdLst>
              <a:gd name="connsiteX0" fmla="*/ 1832943 w 6624018"/>
              <a:gd name="connsiteY0" fmla="*/ 4748834 h 5729909"/>
              <a:gd name="connsiteX1" fmla="*/ 6624018 w 6624018"/>
              <a:gd name="connsiteY1" fmla="*/ 4748834 h 5729909"/>
              <a:gd name="connsiteX2" fmla="*/ 6624018 w 6624018"/>
              <a:gd name="connsiteY2" fmla="*/ 5729909 h 5729909"/>
              <a:gd name="connsiteX3" fmla="*/ 1832943 w 6624018"/>
              <a:gd name="connsiteY3" fmla="*/ 5729909 h 5729909"/>
              <a:gd name="connsiteX4" fmla="*/ 1841224 w 6624018"/>
              <a:gd name="connsiteY4" fmla="*/ 2822714 h 5729909"/>
              <a:gd name="connsiteX5" fmla="*/ 3091438 w 6624018"/>
              <a:gd name="connsiteY5" fmla="*/ 2822714 h 5729909"/>
              <a:gd name="connsiteX6" fmla="*/ 3091438 w 6624018"/>
              <a:gd name="connsiteY6" fmla="*/ 4611758 h 5729909"/>
              <a:gd name="connsiteX7" fmla="*/ 1841224 w 6624018"/>
              <a:gd name="connsiteY7" fmla="*/ 4611758 h 5729909"/>
              <a:gd name="connsiteX8" fmla="*/ 0 w 6624018"/>
              <a:gd name="connsiteY8" fmla="*/ 2822714 h 5729909"/>
              <a:gd name="connsiteX9" fmla="*/ 1690847 w 6624018"/>
              <a:gd name="connsiteY9" fmla="*/ 2822714 h 5729909"/>
              <a:gd name="connsiteX10" fmla="*/ 1690847 w 6624018"/>
              <a:gd name="connsiteY10" fmla="*/ 4949686 h 5729909"/>
              <a:gd name="connsiteX11" fmla="*/ 0 w 6624018"/>
              <a:gd name="connsiteY11" fmla="*/ 4949686 h 5729909"/>
              <a:gd name="connsiteX12" fmla="*/ 3241814 w 6624018"/>
              <a:gd name="connsiteY12" fmla="*/ 1928192 h 5729909"/>
              <a:gd name="connsiteX13" fmla="*/ 6042992 w 6624018"/>
              <a:gd name="connsiteY13" fmla="*/ 1928192 h 5729909"/>
              <a:gd name="connsiteX14" fmla="*/ 6042992 w 6624018"/>
              <a:gd name="connsiteY14" fmla="*/ 4611758 h 5729909"/>
              <a:gd name="connsiteX15" fmla="*/ 3241814 w 6624018"/>
              <a:gd name="connsiteY15" fmla="*/ 4611758 h 5729909"/>
              <a:gd name="connsiteX16" fmla="*/ 290259 w 6624018"/>
              <a:gd name="connsiteY16" fmla="*/ 894522 h 5729909"/>
              <a:gd name="connsiteX17" fmla="*/ 3091436 w 6624018"/>
              <a:gd name="connsiteY17" fmla="*/ 894522 h 5729909"/>
              <a:gd name="connsiteX18" fmla="*/ 3091436 w 6624018"/>
              <a:gd name="connsiteY18" fmla="*/ 2683566 h 5729909"/>
              <a:gd name="connsiteX19" fmla="*/ 290259 w 6624018"/>
              <a:gd name="connsiteY19" fmla="*/ 2683566 h 5729909"/>
              <a:gd name="connsiteX20" fmla="*/ 3241813 w 6624018"/>
              <a:gd name="connsiteY20" fmla="*/ 0 h 5729909"/>
              <a:gd name="connsiteX21" fmla="*/ 4979872 w 6624018"/>
              <a:gd name="connsiteY21" fmla="*/ 0 h 5729909"/>
              <a:gd name="connsiteX22" fmla="*/ 4979872 w 6624018"/>
              <a:gd name="connsiteY22" fmla="*/ 1789044 h 5729909"/>
              <a:gd name="connsiteX23" fmla="*/ 3241813 w 6624018"/>
              <a:gd name="connsiteY23" fmla="*/ 1789044 h 5729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6624018" h="5729909">
                <a:moveTo>
                  <a:pt x="1832943" y="4748834"/>
                </a:moveTo>
                <a:lnTo>
                  <a:pt x="6624018" y="4748834"/>
                </a:lnTo>
                <a:lnTo>
                  <a:pt x="6624018" y="5729909"/>
                </a:lnTo>
                <a:lnTo>
                  <a:pt x="1832943" y="5729909"/>
                </a:lnTo>
                <a:close/>
                <a:moveTo>
                  <a:pt x="1841224" y="2822714"/>
                </a:moveTo>
                <a:lnTo>
                  <a:pt x="3091438" y="2822714"/>
                </a:lnTo>
                <a:lnTo>
                  <a:pt x="3091438" y="4611758"/>
                </a:lnTo>
                <a:lnTo>
                  <a:pt x="1841224" y="4611758"/>
                </a:lnTo>
                <a:close/>
                <a:moveTo>
                  <a:pt x="0" y="2822714"/>
                </a:moveTo>
                <a:lnTo>
                  <a:pt x="1690847" y="2822714"/>
                </a:lnTo>
                <a:lnTo>
                  <a:pt x="1690847" y="4949686"/>
                </a:lnTo>
                <a:lnTo>
                  <a:pt x="0" y="4949686"/>
                </a:lnTo>
                <a:close/>
                <a:moveTo>
                  <a:pt x="3241814" y="1928192"/>
                </a:moveTo>
                <a:lnTo>
                  <a:pt x="6042992" y="1928192"/>
                </a:lnTo>
                <a:lnTo>
                  <a:pt x="6042992" y="4611758"/>
                </a:lnTo>
                <a:lnTo>
                  <a:pt x="3241814" y="4611758"/>
                </a:lnTo>
                <a:close/>
                <a:moveTo>
                  <a:pt x="290259" y="894522"/>
                </a:moveTo>
                <a:lnTo>
                  <a:pt x="3091436" y="894522"/>
                </a:lnTo>
                <a:lnTo>
                  <a:pt x="3091436" y="2683566"/>
                </a:lnTo>
                <a:lnTo>
                  <a:pt x="290259" y="2683566"/>
                </a:lnTo>
                <a:close/>
                <a:moveTo>
                  <a:pt x="3241813" y="0"/>
                </a:moveTo>
                <a:lnTo>
                  <a:pt x="4979872" y="0"/>
                </a:lnTo>
                <a:lnTo>
                  <a:pt x="4979872" y="1789044"/>
                </a:lnTo>
                <a:lnTo>
                  <a:pt x="3241813" y="17890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marR="0" indent="0" algn="ct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ko-KR" altLang="en-US" sz="1350">
                <a:solidFill>
                  <a:schemeClr val="tx1">
                    <a:lumMod val="75000"/>
                    <a:lumOff val="25000"/>
                  </a:schemeClr>
                </a:solidFill>
                <a:latin typeface="Asap" panose="02000506040000020004" pitchFamily="2" charset="0"/>
                <a:sym typeface="Asap" panose="02000506040000020004" pitchFamily="2" charset="0"/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ko-KR" dirty="0"/>
              <a:t>Place Your Picture Here Send To Back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8871743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NG sets layou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9664A7A-4B63-4F97-8920-1B0858B50A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916401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2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9664A7A-4B63-4F97-8920-1B0858B50A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42647" y="184045"/>
            <a:ext cx="8679898" cy="5431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05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Asap" panose="02000506040000020004" pitchFamily="2" charset="0"/>
                <a:cs typeface="Arial" pitchFamily="34" charset="0"/>
                <a:sym typeface="Asap" panose="02000506040000020004" pitchFamily="2" charset="0"/>
              </a:defRPr>
            </a:lvl1pPr>
          </a:lstStyle>
          <a:p>
            <a:pPr lvl="0"/>
            <a:r>
              <a:rPr lang="en-US" altLang="ko-KR" dirty="0"/>
              <a:t>PNG &amp; Shapes Layout</a:t>
            </a:r>
          </a:p>
        </p:txBody>
      </p:sp>
    </p:spTree>
    <p:extLst>
      <p:ext uri="{BB962C8B-B14F-4D97-AF65-F5344CB8AC3E}">
        <p14:creationId xmlns:p14="http://schemas.microsoft.com/office/powerpoint/2010/main" val="107851350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s and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B181107-1F34-4506-907D-75B3B90F49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856424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6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B181107-1F34-4506-907D-75B3B90F49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1466589"/>
            <a:ext cx="9144000" cy="1761660"/>
          </a:xfrm>
          <a:prstGeom prst="rect">
            <a:avLst/>
          </a:prstGeom>
          <a:gradFill>
            <a:gsLst>
              <a:gs pos="66000">
                <a:schemeClr val="accent3"/>
              </a:gs>
              <a:gs pos="33000">
                <a:schemeClr val="accent2"/>
              </a:gs>
              <a:gs pos="0">
                <a:schemeClr val="accent1"/>
              </a:gs>
              <a:gs pos="96000">
                <a:schemeClr val="accent4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0">
              <a:latin typeface="Asap" panose="02000506040000020004" pitchFamily="2" charset="0"/>
              <a:cs typeface="Arial" pitchFamily="34" charset="0"/>
              <a:sym typeface="Asap" panose="02000506040000020004" pitchFamily="2" charset="0"/>
            </a:endParaRPr>
          </a:p>
        </p:txBody>
      </p:sp>
      <p:sp>
        <p:nvSpPr>
          <p:cNvPr id="7" name="Picture Placeholder 2"/>
          <p:cNvSpPr>
            <a:spLocks noGrp="1"/>
          </p:cNvSpPr>
          <p:nvPr>
            <p:ph type="pic" idx="10" hasCustomPrompt="1"/>
          </p:nvPr>
        </p:nvSpPr>
        <p:spPr>
          <a:xfrm>
            <a:off x="686270" y="1645419"/>
            <a:ext cx="1404000" cy="1404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Asap" panose="02000506040000020004" pitchFamily="2" charset="0"/>
                <a:cs typeface="Arial" pitchFamily="34" charset="0"/>
                <a:sym typeface="Asap" panose="02000506040000020004" pitchFamily="2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8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2846710" y="1645419"/>
            <a:ext cx="1404000" cy="1404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Asap" panose="02000506040000020004" pitchFamily="2" charset="0"/>
                <a:cs typeface="Arial" pitchFamily="34" charset="0"/>
                <a:sym typeface="Asap" panose="02000506040000020004" pitchFamily="2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idx="13" hasCustomPrompt="1"/>
          </p:nvPr>
        </p:nvSpPr>
        <p:spPr>
          <a:xfrm>
            <a:off x="5007150" y="1645419"/>
            <a:ext cx="1404000" cy="1404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Asap" panose="02000506040000020004" pitchFamily="2" charset="0"/>
                <a:cs typeface="Arial" pitchFamily="34" charset="0"/>
                <a:sym typeface="Asap" panose="02000506040000020004" pitchFamily="2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7089211" y="1645419"/>
            <a:ext cx="1404000" cy="1404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Asap" panose="02000506040000020004" pitchFamily="2" charset="0"/>
                <a:cs typeface="Arial" pitchFamily="34" charset="0"/>
                <a:sym typeface="Asap" panose="02000506040000020004" pitchFamily="2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8FFDD507-9677-45A5-88E2-496510E5A49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2647" y="254632"/>
            <a:ext cx="8679898" cy="5431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05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Asap" panose="02000506040000020004" pitchFamily="2" charset="0"/>
                <a:cs typeface="Arial" pitchFamily="34" charset="0"/>
                <a:sym typeface="Asap" panose="02000506040000020004" pitchFamily="2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D8216D7-CA4D-48D3-9D62-1C9BA3F433A6}"/>
              </a:ext>
            </a:extLst>
          </p:cNvPr>
          <p:cNvGrpSpPr/>
          <p:nvPr userDrawn="1"/>
        </p:nvGrpSpPr>
        <p:grpSpPr>
          <a:xfrm>
            <a:off x="0" y="4948390"/>
            <a:ext cx="9144000" cy="195110"/>
            <a:chOff x="4379494" y="697832"/>
            <a:chExt cx="2586787" cy="168442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2EAEB79D-42D9-4854-93EE-6A7860B32C06}"/>
                </a:ext>
              </a:extLst>
            </p:cNvPr>
            <p:cNvSpPr/>
            <p:nvPr/>
          </p:nvSpPr>
          <p:spPr>
            <a:xfrm>
              <a:off x="4379494" y="697832"/>
              <a:ext cx="517358" cy="168442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B331F8D-F639-4D0A-8219-201CB10A84B5}"/>
                </a:ext>
              </a:extLst>
            </p:cNvPr>
            <p:cNvSpPr/>
            <p:nvPr/>
          </p:nvSpPr>
          <p:spPr>
            <a:xfrm>
              <a:off x="4896852" y="697832"/>
              <a:ext cx="517358" cy="16844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8B7EECCE-8A5D-4DE2-92FC-ED13A376AE06}"/>
                </a:ext>
              </a:extLst>
            </p:cNvPr>
            <p:cNvSpPr/>
            <p:nvPr/>
          </p:nvSpPr>
          <p:spPr>
            <a:xfrm>
              <a:off x="5414209" y="697832"/>
              <a:ext cx="517358" cy="16844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121D7071-E31A-4D5F-AA58-5EFBD7BC7CC0}"/>
                </a:ext>
              </a:extLst>
            </p:cNvPr>
            <p:cNvSpPr/>
            <p:nvPr/>
          </p:nvSpPr>
          <p:spPr>
            <a:xfrm>
              <a:off x="5931566" y="697832"/>
              <a:ext cx="517358" cy="1684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D1BC3BF5-51FA-4018-9D97-FFDF71871D4A}"/>
                </a:ext>
              </a:extLst>
            </p:cNvPr>
            <p:cNvSpPr/>
            <p:nvPr/>
          </p:nvSpPr>
          <p:spPr>
            <a:xfrm>
              <a:off x="6448923" y="697832"/>
              <a:ext cx="517358" cy="16844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119898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48BA120-3DB2-493C-AAD5-0E4D095BF3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634463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4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48BA120-3DB2-493C-AAD5-0E4D095BF3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42647" y="254632"/>
            <a:ext cx="8679898" cy="5431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05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Asap" panose="02000506040000020004" pitchFamily="2" charset="0"/>
                <a:cs typeface="Arial" pitchFamily="34" charset="0"/>
                <a:sym typeface="Asap" panose="02000506040000020004" pitchFamily="2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3C46DD9-9A8F-411D-B597-946818B71DE8}"/>
              </a:ext>
            </a:extLst>
          </p:cNvPr>
          <p:cNvGrpSpPr/>
          <p:nvPr userDrawn="1"/>
        </p:nvGrpSpPr>
        <p:grpSpPr>
          <a:xfrm>
            <a:off x="0" y="4948390"/>
            <a:ext cx="9144000" cy="195110"/>
            <a:chOff x="4379494" y="697832"/>
            <a:chExt cx="2586787" cy="168442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E6E330ED-CBD0-49D6-96D9-8A0C1C4518A4}"/>
                </a:ext>
              </a:extLst>
            </p:cNvPr>
            <p:cNvSpPr/>
            <p:nvPr/>
          </p:nvSpPr>
          <p:spPr>
            <a:xfrm>
              <a:off x="4379494" y="697832"/>
              <a:ext cx="517358" cy="168442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28152-6864-487D-B9D6-395800F0CC7C}"/>
                </a:ext>
              </a:extLst>
            </p:cNvPr>
            <p:cNvSpPr/>
            <p:nvPr/>
          </p:nvSpPr>
          <p:spPr>
            <a:xfrm>
              <a:off x="4896852" y="697832"/>
              <a:ext cx="517358" cy="16844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57E5C8F6-620C-4584-AE0A-5E4F2E6565C5}"/>
                </a:ext>
              </a:extLst>
            </p:cNvPr>
            <p:cNvSpPr/>
            <p:nvPr/>
          </p:nvSpPr>
          <p:spPr>
            <a:xfrm>
              <a:off x="5414209" y="697832"/>
              <a:ext cx="517358" cy="16844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B5925AB1-BE47-453E-8EF4-924465289B54}"/>
                </a:ext>
              </a:extLst>
            </p:cNvPr>
            <p:cNvSpPr/>
            <p:nvPr/>
          </p:nvSpPr>
          <p:spPr>
            <a:xfrm>
              <a:off x="5931566" y="697832"/>
              <a:ext cx="517358" cy="1684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68FC2FC1-F83A-44D6-9D9A-A61E40D3B973}"/>
                </a:ext>
              </a:extLst>
            </p:cNvPr>
            <p:cNvSpPr/>
            <p:nvPr/>
          </p:nvSpPr>
          <p:spPr>
            <a:xfrm>
              <a:off x="6448923" y="697832"/>
              <a:ext cx="517358" cy="16844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BC8EC325-CE62-415E-834A-7F70F7855117}"/>
              </a:ext>
            </a:extLst>
          </p:cNvPr>
          <p:cNvSpPr/>
          <p:nvPr userDrawn="1"/>
        </p:nvSpPr>
        <p:spPr>
          <a:xfrm flipV="1">
            <a:off x="0" y="887853"/>
            <a:ext cx="1321594" cy="3428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latin typeface="Asap" panose="02000506040000020004" pitchFamily="2" charset="0"/>
              <a:sym typeface="Asap" panose="0200050604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385565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A768350-4514-4642-AEEF-CB95CB3D97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181907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8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A768350-4514-4642-AEEF-CB95CB3D97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4922634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layou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C7A9606-1699-4AA2-AA12-39EC4B839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180009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2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C7A9606-1699-4AA2-AA12-39EC4B839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152611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BA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DD79A02-4338-444E-8119-F077263F85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6648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C66DD36-0A1A-4EC8-BE70-351CE3C0F08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sap" panose="02000506040000020004" pitchFamily="2" charset="0"/>
              <a:ea typeface="ＭＳ Ｐゴシック" panose="020B0600070205080204" pitchFamily="34" charset="-128"/>
              <a:cs typeface="Arial" panose="020B0604020202020204" pitchFamily="34" charset="0"/>
              <a:sym typeface="Asap" panose="02000506040000020004" pitchFamily="2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670842" y="700913"/>
            <a:ext cx="7874290" cy="38131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1" baseline="0">
                <a:solidFill>
                  <a:srgbClr val="FFFFFF"/>
                </a:solidFill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  <a:lvl2pPr>
              <a:defRPr sz="1600">
                <a:solidFill>
                  <a:srgbClr val="7F7F7F"/>
                </a:solidFill>
                <a:latin typeface="Asap"/>
                <a:cs typeface="Asap"/>
              </a:defRPr>
            </a:lvl2pPr>
            <a:lvl3pPr>
              <a:defRPr sz="1400">
                <a:solidFill>
                  <a:srgbClr val="7F7F7F"/>
                </a:solidFill>
                <a:latin typeface="Asap"/>
                <a:cs typeface="Asap"/>
              </a:defRPr>
            </a:lvl3pPr>
            <a:lvl4pPr>
              <a:defRPr sz="1200">
                <a:solidFill>
                  <a:srgbClr val="7F7F7F"/>
                </a:solidFill>
                <a:latin typeface="Asap"/>
                <a:cs typeface="Asap"/>
              </a:defRPr>
            </a:lvl4pPr>
            <a:lvl5pPr>
              <a:defRPr sz="1200">
                <a:solidFill>
                  <a:srgbClr val="7F7F7F"/>
                </a:solidFill>
                <a:latin typeface="Asap"/>
                <a:cs typeface="Asap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C36F14-B9A6-48F3-93B2-99BCF077EE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0"/>
            <a:ext cx="6053070" cy="470079"/>
          </a:xfrm>
          <a:prstGeom prst="rect">
            <a:avLst/>
          </a:prstGeom>
        </p:spPr>
        <p:txBody>
          <a:bodyPr/>
          <a:lstStyle>
            <a:lvl1pPr algn="l">
              <a:defRPr sz="200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7196224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yle slide layou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6A2370D-AEC1-4AE0-92F1-55E9686D96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097272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6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6A2370D-AEC1-4AE0-92F1-55E9686D96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5196343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yle slide layou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0C219C19-C1CD-4192-8D52-365D00AA59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295140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0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0C219C19-C1CD-4192-8D52-365D00AA59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AD12A631-1449-458D-8F7A-DD74ACB1BF08}"/>
              </a:ext>
            </a:extLst>
          </p:cNvPr>
          <p:cNvSpPr/>
          <p:nvPr userDrawn="1"/>
        </p:nvSpPr>
        <p:spPr>
          <a:xfrm>
            <a:off x="1" y="2144105"/>
            <a:ext cx="9143999" cy="1653101"/>
          </a:xfrm>
          <a:prstGeom prst="rect">
            <a:avLst/>
          </a:prstGeom>
          <a:gradFill flip="none" rotWithShape="1">
            <a:gsLst>
              <a:gs pos="74000">
                <a:schemeClr val="accent6">
                  <a:alpha val="70000"/>
                </a:schemeClr>
              </a:gs>
              <a:gs pos="45000">
                <a:schemeClr val="accent6">
                  <a:alpha val="75000"/>
                </a:schemeClr>
              </a:gs>
              <a:gs pos="8000">
                <a:schemeClr val="accent1">
                  <a:alpha val="0"/>
                </a:schemeClr>
              </a:gs>
              <a:gs pos="96000">
                <a:schemeClr val="accent5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>
              <a:latin typeface="Asap" panose="02000506040000020004" pitchFamily="2" charset="0"/>
              <a:sym typeface="Asap" panose="02000506040000020004" pitchFamily="2" charset="0"/>
            </a:endParaRPr>
          </a:p>
        </p:txBody>
      </p:sp>
      <p:grpSp>
        <p:nvGrpSpPr>
          <p:cNvPr id="2" name="Graphic 14">
            <a:extLst>
              <a:ext uri="{FF2B5EF4-FFF2-40B4-BE49-F238E27FC236}">
                <a16:creationId xmlns:a16="http://schemas.microsoft.com/office/drawing/2014/main" id="{EB6248EF-B06C-43D0-91E9-33C54CEB5B7B}"/>
              </a:ext>
            </a:extLst>
          </p:cNvPr>
          <p:cNvGrpSpPr/>
          <p:nvPr userDrawn="1"/>
        </p:nvGrpSpPr>
        <p:grpSpPr>
          <a:xfrm>
            <a:off x="565084" y="1979478"/>
            <a:ext cx="3196295" cy="2513941"/>
            <a:chOff x="2444748" y="555045"/>
            <a:chExt cx="7282048" cy="5727454"/>
          </a:xfrm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F4296F62-9662-4403-9A1B-140DFC6CEF67}"/>
                </a:ext>
              </a:extLst>
            </p:cNvPr>
            <p:cNvSpPr/>
            <p:nvPr/>
          </p:nvSpPr>
          <p:spPr>
            <a:xfrm>
              <a:off x="4964693" y="5443837"/>
              <a:ext cx="2168250" cy="818208"/>
            </a:xfrm>
            <a:custGeom>
              <a:avLst/>
              <a:gdLst>
                <a:gd name="connsiteX0" fmla="*/ 1941333 w 2168250"/>
                <a:gd name="connsiteY0" fmla="*/ 525699 h 818207"/>
                <a:gd name="connsiteX1" fmla="*/ 1785874 w 2168250"/>
                <a:gd name="connsiteY1" fmla="*/ 30683 h 818207"/>
                <a:gd name="connsiteX2" fmla="*/ 1114943 w 2168250"/>
                <a:gd name="connsiteY2" fmla="*/ 30683 h 818207"/>
                <a:gd name="connsiteX3" fmla="*/ 1065851 w 2168250"/>
                <a:gd name="connsiteY3" fmla="*/ 30683 h 818207"/>
                <a:gd name="connsiteX4" fmla="*/ 390830 w 2168250"/>
                <a:gd name="connsiteY4" fmla="*/ 30683 h 818207"/>
                <a:gd name="connsiteX5" fmla="*/ 235370 w 2168250"/>
                <a:gd name="connsiteY5" fmla="*/ 525699 h 818207"/>
                <a:gd name="connsiteX6" fmla="*/ 259916 w 2168250"/>
                <a:gd name="connsiteY6" fmla="*/ 816162 h 818207"/>
                <a:gd name="connsiteX7" fmla="*/ 1065851 w 2168250"/>
                <a:gd name="connsiteY7" fmla="*/ 816162 h 818207"/>
                <a:gd name="connsiteX8" fmla="*/ 1114943 w 2168250"/>
                <a:gd name="connsiteY8" fmla="*/ 816162 h 818207"/>
                <a:gd name="connsiteX9" fmla="*/ 1920878 w 2168250"/>
                <a:gd name="connsiteY9" fmla="*/ 816162 h 818207"/>
                <a:gd name="connsiteX10" fmla="*/ 1941333 w 2168250"/>
                <a:gd name="connsiteY10" fmla="*/ 525699 h 818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68250" h="818207">
                  <a:moveTo>
                    <a:pt x="1941333" y="525699"/>
                  </a:moveTo>
                  <a:cubicBezTo>
                    <a:pt x="1789965" y="370239"/>
                    <a:pt x="1785874" y="30683"/>
                    <a:pt x="1785874" y="30683"/>
                  </a:cubicBezTo>
                  <a:lnTo>
                    <a:pt x="1114943" y="30683"/>
                  </a:lnTo>
                  <a:lnTo>
                    <a:pt x="1065851" y="30683"/>
                  </a:lnTo>
                  <a:lnTo>
                    <a:pt x="390830" y="30683"/>
                  </a:lnTo>
                  <a:cubicBezTo>
                    <a:pt x="390830" y="30683"/>
                    <a:pt x="386739" y="366148"/>
                    <a:pt x="235370" y="525699"/>
                  </a:cubicBezTo>
                  <a:cubicBezTo>
                    <a:pt x="84002" y="681158"/>
                    <a:pt x="-149188" y="816162"/>
                    <a:pt x="259916" y="816162"/>
                  </a:cubicBezTo>
                  <a:cubicBezTo>
                    <a:pt x="587199" y="816162"/>
                    <a:pt x="939029" y="816162"/>
                    <a:pt x="1065851" y="816162"/>
                  </a:cubicBezTo>
                  <a:cubicBezTo>
                    <a:pt x="1098579" y="816162"/>
                    <a:pt x="1114943" y="816162"/>
                    <a:pt x="1114943" y="816162"/>
                  </a:cubicBezTo>
                  <a:cubicBezTo>
                    <a:pt x="1245857" y="816162"/>
                    <a:pt x="1597686" y="816162"/>
                    <a:pt x="1920878" y="816162"/>
                  </a:cubicBezTo>
                  <a:cubicBezTo>
                    <a:pt x="2329982" y="816162"/>
                    <a:pt x="2092702" y="681158"/>
                    <a:pt x="1941333" y="525699"/>
                  </a:cubicBezTo>
                  <a:close/>
                </a:path>
              </a:pathLst>
            </a:custGeom>
            <a:gradFill>
              <a:gsLst>
                <a:gs pos="0">
                  <a:schemeClr val="bg1">
                    <a:lumMod val="75000"/>
                  </a:schemeClr>
                </a:gs>
                <a:gs pos="53000">
                  <a:schemeClr val="bg1">
                    <a:lumMod val="85000"/>
                  </a:schemeClr>
                </a:gs>
                <a:gs pos="83000">
                  <a:schemeClr val="bg1">
                    <a:lumMod val="7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6200000" scaled="0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EC151A04-4E35-4F1C-99AA-68E3920CDF5B}"/>
                </a:ext>
              </a:extLst>
            </p:cNvPr>
            <p:cNvSpPr/>
            <p:nvPr/>
          </p:nvSpPr>
          <p:spPr>
            <a:xfrm>
              <a:off x="2444748" y="555045"/>
              <a:ext cx="7282048" cy="4950157"/>
            </a:xfrm>
            <a:custGeom>
              <a:avLst/>
              <a:gdLst>
                <a:gd name="connsiteX0" fmla="*/ 7038632 w 7282048"/>
                <a:gd name="connsiteY0" fmla="*/ 30683 h 4950157"/>
                <a:gd name="connsiteX1" fmla="*/ 3704436 w 7282048"/>
                <a:gd name="connsiteY1" fmla="*/ 30683 h 4950157"/>
                <a:gd name="connsiteX2" fmla="*/ 3589886 w 7282048"/>
                <a:gd name="connsiteY2" fmla="*/ 30683 h 4950157"/>
                <a:gd name="connsiteX3" fmla="*/ 259781 w 7282048"/>
                <a:gd name="connsiteY3" fmla="*/ 30683 h 4950157"/>
                <a:gd name="connsiteX4" fmla="*/ 30683 w 7282048"/>
                <a:gd name="connsiteY4" fmla="*/ 259781 h 4950157"/>
                <a:gd name="connsiteX5" fmla="*/ 30683 w 7282048"/>
                <a:gd name="connsiteY5" fmla="*/ 4698558 h 4950157"/>
                <a:gd name="connsiteX6" fmla="*/ 239326 w 7282048"/>
                <a:gd name="connsiteY6" fmla="*/ 4931748 h 4950157"/>
                <a:gd name="connsiteX7" fmla="*/ 7042723 w 7282048"/>
                <a:gd name="connsiteY7" fmla="*/ 4931748 h 4950157"/>
                <a:gd name="connsiteX8" fmla="*/ 7251366 w 7282048"/>
                <a:gd name="connsiteY8" fmla="*/ 4698558 h 4950157"/>
                <a:gd name="connsiteX9" fmla="*/ 7251366 w 7282048"/>
                <a:gd name="connsiteY9" fmla="*/ 259781 h 4950157"/>
                <a:gd name="connsiteX10" fmla="*/ 7038632 w 7282048"/>
                <a:gd name="connsiteY10" fmla="*/ 30683 h 4950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282048" h="4950157">
                  <a:moveTo>
                    <a:pt x="7038632" y="30683"/>
                  </a:moveTo>
                  <a:lnTo>
                    <a:pt x="3704436" y="30683"/>
                  </a:lnTo>
                  <a:lnTo>
                    <a:pt x="3589886" y="30683"/>
                  </a:lnTo>
                  <a:lnTo>
                    <a:pt x="259781" y="30683"/>
                  </a:lnTo>
                  <a:cubicBezTo>
                    <a:pt x="141141" y="30683"/>
                    <a:pt x="30683" y="128868"/>
                    <a:pt x="30683" y="259781"/>
                  </a:cubicBezTo>
                  <a:lnTo>
                    <a:pt x="30683" y="4698558"/>
                  </a:lnTo>
                  <a:cubicBezTo>
                    <a:pt x="30683" y="4829472"/>
                    <a:pt x="124777" y="4931748"/>
                    <a:pt x="239326" y="4931748"/>
                  </a:cubicBezTo>
                  <a:lnTo>
                    <a:pt x="7042723" y="4931748"/>
                  </a:lnTo>
                  <a:cubicBezTo>
                    <a:pt x="7157272" y="4931748"/>
                    <a:pt x="7251366" y="4825380"/>
                    <a:pt x="7251366" y="4698558"/>
                  </a:cubicBezTo>
                  <a:lnTo>
                    <a:pt x="7251366" y="259781"/>
                  </a:lnTo>
                  <a:cubicBezTo>
                    <a:pt x="7251366" y="128868"/>
                    <a:pt x="7157272" y="30683"/>
                    <a:pt x="7038632" y="30683"/>
                  </a:cubicBezTo>
                  <a:close/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 dirty="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6924EC27-EA8E-48AC-B3BA-B86C7B650247}"/>
                </a:ext>
              </a:extLst>
            </p:cNvPr>
            <p:cNvSpPr/>
            <p:nvPr/>
          </p:nvSpPr>
          <p:spPr>
            <a:xfrm>
              <a:off x="8706599" y="5435655"/>
              <a:ext cx="490925" cy="81821"/>
            </a:xfrm>
            <a:custGeom>
              <a:avLst/>
              <a:gdLst>
                <a:gd name="connsiteX0" fmla="*/ 32212 w 490924"/>
                <a:gd name="connsiteY0" fmla="*/ 30683 h 81820"/>
                <a:gd name="connsiteX1" fmla="*/ 64939 w 490924"/>
                <a:gd name="connsiteY1" fmla="*/ 71593 h 81820"/>
                <a:gd name="connsiteX2" fmla="*/ 461771 w 490924"/>
                <a:gd name="connsiteY2" fmla="*/ 71593 h 81820"/>
                <a:gd name="connsiteX3" fmla="*/ 498590 w 490924"/>
                <a:gd name="connsiteY3" fmla="*/ 30683 h 81820"/>
                <a:gd name="connsiteX4" fmla="*/ 32212 w 490924"/>
                <a:gd name="connsiteY4" fmla="*/ 30683 h 81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0924" h="81820">
                  <a:moveTo>
                    <a:pt x="32212" y="30683"/>
                  </a:moveTo>
                  <a:cubicBezTo>
                    <a:pt x="32212" y="30683"/>
                    <a:pt x="19938" y="67502"/>
                    <a:pt x="64939" y="71593"/>
                  </a:cubicBezTo>
                  <a:lnTo>
                    <a:pt x="461771" y="71593"/>
                  </a:lnTo>
                  <a:cubicBezTo>
                    <a:pt x="461771" y="71593"/>
                    <a:pt x="502681" y="75684"/>
                    <a:pt x="498590" y="30683"/>
                  </a:cubicBezTo>
                  <a:lnTo>
                    <a:pt x="32212" y="30683"/>
                  </a:lnTo>
                  <a:close/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AF88730B-3EDA-490F-8B6F-5357A5EF0ECA}"/>
                </a:ext>
              </a:extLst>
            </p:cNvPr>
            <p:cNvSpPr/>
            <p:nvPr/>
          </p:nvSpPr>
          <p:spPr>
            <a:xfrm>
              <a:off x="2481568" y="595956"/>
              <a:ext cx="7200228" cy="4336501"/>
            </a:xfrm>
            <a:custGeom>
              <a:avLst/>
              <a:gdLst>
                <a:gd name="connsiteX0" fmla="*/ 6973175 w 7200227"/>
                <a:gd name="connsiteY0" fmla="*/ 30683 h 4336501"/>
                <a:gd name="connsiteX1" fmla="*/ 3671707 w 7200227"/>
                <a:gd name="connsiteY1" fmla="*/ 30683 h 4336501"/>
                <a:gd name="connsiteX2" fmla="*/ 3561249 w 7200227"/>
                <a:gd name="connsiteY2" fmla="*/ 30683 h 4336501"/>
                <a:gd name="connsiteX3" fmla="*/ 259781 w 7200227"/>
                <a:gd name="connsiteY3" fmla="*/ 30683 h 4336501"/>
                <a:gd name="connsiteX4" fmla="*/ 30683 w 7200227"/>
                <a:gd name="connsiteY4" fmla="*/ 231144 h 4336501"/>
                <a:gd name="connsiteX5" fmla="*/ 30683 w 7200227"/>
                <a:gd name="connsiteY5" fmla="*/ 4330365 h 4336501"/>
                <a:gd name="connsiteX6" fmla="*/ 7185909 w 7200227"/>
                <a:gd name="connsiteY6" fmla="*/ 4330365 h 4336501"/>
                <a:gd name="connsiteX7" fmla="*/ 7185909 w 7200227"/>
                <a:gd name="connsiteY7" fmla="*/ 231144 h 4336501"/>
                <a:gd name="connsiteX8" fmla="*/ 6973175 w 7200227"/>
                <a:gd name="connsiteY8" fmla="*/ 30683 h 4336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00227" h="4336501">
                  <a:moveTo>
                    <a:pt x="6973175" y="30683"/>
                  </a:moveTo>
                  <a:lnTo>
                    <a:pt x="3671707" y="30683"/>
                  </a:lnTo>
                  <a:lnTo>
                    <a:pt x="3561249" y="30683"/>
                  </a:lnTo>
                  <a:lnTo>
                    <a:pt x="259781" y="30683"/>
                  </a:lnTo>
                  <a:cubicBezTo>
                    <a:pt x="141141" y="30683"/>
                    <a:pt x="30683" y="112504"/>
                    <a:pt x="30683" y="231144"/>
                  </a:cubicBezTo>
                  <a:lnTo>
                    <a:pt x="30683" y="4330365"/>
                  </a:lnTo>
                  <a:lnTo>
                    <a:pt x="7185909" y="4330365"/>
                  </a:lnTo>
                  <a:lnTo>
                    <a:pt x="7185909" y="231144"/>
                  </a:lnTo>
                  <a:cubicBezTo>
                    <a:pt x="7185909" y="112504"/>
                    <a:pt x="7091815" y="30683"/>
                    <a:pt x="6973175" y="30683"/>
                  </a:cubicBezTo>
                  <a:close/>
                </a:path>
              </a:pathLst>
            </a:custGeom>
            <a:solidFill>
              <a:srgbClr val="231F2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 dirty="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8AAC3D30-A9EC-437B-BAEC-5158F5227067}"/>
                </a:ext>
              </a:extLst>
            </p:cNvPr>
            <p:cNvSpPr/>
            <p:nvPr/>
          </p:nvSpPr>
          <p:spPr>
            <a:xfrm>
              <a:off x="4968919" y="6159768"/>
              <a:ext cx="2168250" cy="122731"/>
            </a:xfrm>
            <a:custGeom>
              <a:avLst/>
              <a:gdLst>
                <a:gd name="connsiteX0" fmla="*/ 30683 w 2168250"/>
                <a:gd name="connsiteY0" fmla="*/ 34774 h 122731"/>
                <a:gd name="connsiteX1" fmla="*/ 30683 w 2168250"/>
                <a:gd name="connsiteY1" fmla="*/ 34774 h 122731"/>
                <a:gd name="connsiteX2" fmla="*/ 30683 w 2168250"/>
                <a:gd name="connsiteY2" fmla="*/ 38865 h 122731"/>
                <a:gd name="connsiteX3" fmla="*/ 30683 w 2168250"/>
                <a:gd name="connsiteY3" fmla="*/ 38865 h 122731"/>
                <a:gd name="connsiteX4" fmla="*/ 263872 w 2168250"/>
                <a:gd name="connsiteY4" fmla="*/ 96140 h 122731"/>
                <a:gd name="connsiteX5" fmla="*/ 1069807 w 2168250"/>
                <a:gd name="connsiteY5" fmla="*/ 96140 h 122731"/>
                <a:gd name="connsiteX6" fmla="*/ 1118899 w 2168250"/>
                <a:gd name="connsiteY6" fmla="*/ 96140 h 122731"/>
                <a:gd name="connsiteX7" fmla="*/ 1924834 w 2168250"/>
                <a:gd name="connsiteY7" fmla="*/ 96140 h 122731"/>
                <a:gd name="connsiteX8" fmla="*/ 2153932 w 2168250"/>
                <a:gd name="connsiteY8" fmla="*/ 30683 h 122731"/>
                <a:gd name="connsiteX9" fmla="*/ 2137568 w 2168250"/>
                <a:gd name="connsiteY9" fmla="*/ 30683 h 122731"/>
                <a:gd name="connsiteX10" fmla="*/ 2137568 w 2168250"/>
                <a:gd name="connsiteY10" fmla="*/ 30683 h 122731"/>
                <a:gd name="connsiteX11" fmla="*/ 30683 w 2168250"/>
                <a:gd name="connsiteY11" fmla="*/ 30683 h 122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68250" h="122731">
                  <a:moveTo>
                    <a:pt x="30683" y="34774"/>
                  </a:moveTo>
                  <a:lnTo>
                    <a:pt x="30683" y="34774"/>
                  </a:lnTo>
                  <a:cubicBezTo>
                    <a:pt x="30683" y="38865"/>
                    <a:pt x="30683" y="38865"/>
                    <a:pt x="30683" y="38865"/>
                  </a:cubicBezTo>
                  <a:lnTo>
                    <a:pt x="30683" y="38865"/>
                  </a:lnTo>
                  <a:cubicBezTo>
                    <a:pt x="30683" y="79775"/>
                    <a:pt x="96139" y="96140"/>
                    <a:pt x="263872" y="96140"/>
                  </a:cubicBezTo>
                  <a:cubicBezTo>
                    <a:pt x="591155" y="96140"/>
                    <a:pt x="942984" y="96140"/>
                    <a:pt x="1069807" y="96140"/>
                  </a:cubicBezTo>
                  <a:cubicBezTo>
                    <a:pt x="1102535" y="96140"/>
                    <a:pt x="1118899" y="96140"/>
                    <a:pt x="1118899" y="96140"/>
                  </a:cubicBezTo>
                  <a:cubicBezTo>
                    <a:pt x="1249812" y="96140"/>
                    <a:pt x="1601642" y="96140"/>
                    <a:pt x="1924834" y="96140"/>
                  </a:cubicBezTo>
                  <a:cubicBezTo>
                    <a:pt x="2092566" y="96140"/>
                    <a:pt x="2149841" y="75684"/>
                    <a:pt x="2153932" y="30683"/>
                  </a:cubicBezTo>
                  <a:lnTo>
                    <a:pt x="2137568" y="30683"/>
                  </a:lnTo>
                  <a:lnTo>
                    <a:pt x="2137568" y="30683"/>
                  </a:lnTo>
                  <a:lnTo>
                    <a:pt x="30683" y="30683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 dirty="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1460114B-7023-4F6E-B074-79932670ADDE}"/>
                </a:ext>
              </a:extLst>
            </p:cNvPr>
            <p:cNvSpPr/>
            <p:nvPr/>
          </p:nvSpPr>
          <p:spPr>
            <a:xfrm>
              <a:off x="2481568" y="4903820"/>
              <a:ext cx="7200228" cy="572745"/>
            </a:xfrm>
            <a:custGeom>
              <a:avLst/>
              <a:gdLst>
                <a:gd name="connsiteX0" fmla="*/ 30683 w 7200227"/>
                <a:gd name="connsiteY0" fmla="*/ 362057 h 572745"/>
                <a:gd name="connsiteX1" fmla="*/ 259781 w 7200227"/>
                <a:gd name="connsiteY1" fmla="*/ 562518 h 572745"/>
                <a:gd name="connsiteX2" fmla="*/ 3561249 w 7200227"/>
                <a:gd name="connsiteY2" fmla="*/ 562518 h 572745"/>
                <a:gd name="connsiteX3" fmla="*/ 3671707 w 7200227"/>
                <a:gd name="connsiteY3" fmla="*/ 562518 h 572745"/>
                <a:gd name="connsiteX4" fmla="*/ 6973175 w 7200227"/>
                <a:gd name="connsiteY4" fmla="*/ 562518 h 572745"/>
                <a:gd name="connsiteX5" fmla="*/ 7185909 w 7200227"/>
                <a:gd name="connsiteY5" fmla="*/ 362057 h 572745"/>
                <a:gd name="connsiteX6" fmla="*/ 7185909 w 7200227"/>
                <a:gd name="connsiteY6" fmla="*/ 30683 h 572745"/>
                <a:gd name="connsiteX7" fmla="*/ 30683 w 7200227"/>
                <a:gd name="connsiteY7" fmla="*/ 30683 h 572745"/>
                <a:gd name="connsiteX8" fmla="*/ 30683 w 7200227"/>
                <a:gd name="connsiteY8" fmla="*/ 362057 h 572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00227" h="572745">
                  <a:moveTo>
                    <a:pt x="30683" y="362057"/>
                  </a:moveTo>
                  <a:cubicBezTo>
                    <a:pt x="30683" y="464333"/>
                    <a:pt x="141141" y="562518"/>
                    <a:pt x="259781" y="562518"/>
                  </a:cubicBezTo>
                  <a:lnTo>
                    <a:pt x="3561249" y="562518"/>
                  </a:lnTo>
                  <a:lnTo>
                    <a:pt x="3671707" y="562518"/>
                  </a:lnTo>
                  <a:lnTo>
                    <a:pt x="6973175" y="562518"/>
                  </a:lnTo>
                  <a:cubicBezTo>
                    <a:pt x="7091815" y="562518"/>
                    <a:pt x="7185909" y="464333"/>
                    <a:pt x="7185909" y="362057"/>
                  </a:cubicBezTo>
                  <a:lnTo>
                    <a:pt x="7185909" y="30683"/>
                  </a:lnTo>
                  <a:lnTo>
                    <a:pt x="30683" y="30683"/>
                  </a:lnTo>
                  <a:lnTo>
                    <a:pt x="30683" y="362057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3AC2F032-DFD7-46FF-8CCA-E33896C690DE}"/>
                </a:ext>
              </a:extLst>
            </p:cNvPr>
            <p:cNvSpPr/>
            <p:nvPr/>
          </p:nvSpPr>
          <p:spPr>
            <a:xfrm>
              <a:off x="2747714" y="910966"/>
              <a:ext cx="6676116" cy="3763756"/>
            </a:xfrm>
            <a:custGeom>
              <a:avLst/>
              <a:gdLst>
                <a:gd name="connsiteX0" fmla="*/ 30683 w 6586571"/>
                <a:gd name="connsiteY0" fmla="*/ 30683 h 3763755"/>
                <a:gd name="connsiteX1" fmla="*/ 6564071 w 6586571"/>
                <a:gd name="connsiteY1" fmla="*/ 30683 h 3763755"/>
                <a:gd name="connsiteX2" fmla="*/ 6564071 w 6586571"/>
                <a:gd name="connsiteY2" fmla="*/ 3753528 h 3763755"/>
                <a:gd name="connsiteX3" fmla="*/ 30683 w 6586571"/>
                <a:gd name="connsiteY3" fmla="*/ 3753528 h 3763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86571" h="3763755">
                  <a:moveTo>
                    <a:pt x="30683" y="30683"/>
                  </a:moveTo>
                  <a:lnTo>
                    <a:pt x="6564071" y="30683"/>
                  </a:lnTo>
                  <a:lnTo>
                    <a:pt x="6564071" y="3753528"/>
                  </a:lnTo>
                  <a:lnTo>
                    <a:pt x="30683" y="3753528"/>
                  </a:lnTo>
                  <a:close/>
                </a:path>
              </a:pathLst>
            </a:custGeom>
            <a:solidFill>
              <a:srgbClr val="F2F2F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EDDB5B76-DE90-4CC7-A371-1C02A86AF779}"/>
                </a:ext>
              </a:extLst>
            </p:cNvPr>
            <p:cNvSpPr/>
            <p:nvPr/>
          </p:nvSpPr>
          <p:spPr>
            <a:xfrm>
              <a:off x="5654591" y="939518"/>
              <a:ext cx="3769239" cy="3736342"/>
            </a:xfrm>
            <a:custGeom>
              <a:avLst/>
              <a:gdLst>
                <a:gd name="connsiteX0" fmla="*/ 2567127 w 4009217"/>
                <a:gd name="connsiteY0" fmla="*/ 30683 h 4295590"/>
                <a:gd name="connsiteX1" fmla="*/ 3798529 w 4009217"/>
                <a:gd name="connsiteY1" fmla="*/ 30683 h 4295590"/>
                <a:gd name="connsiteX2" fmla="*/ 4007172 w 4009217"/>
                <a:gd name="connsiteY2" fmla="*/ 272054 h 4295590"/>
                <a:gd name="connsiteX3" fmla="*/ 3998990 w 4009217"/>
                <a:gd name="connsiteY3" fmla="*/ 4268999 h 4295590"/>
                <a:gd name="connsiteX4" fmla="*/ 30683 w 4009217"/>
                <a:gd name="connsiteY4" fmla="*/ 4268999 h 4295590"/>
                <a:gd name="connsiteX0" fmla="*/ 2536444 w 3976489"/>
                <a:gd name="connsiteY0" fmla="*/ 0 h 4238316"/>
                <a:gd name="connsiteX1" fmla="*/ 3976489 w 3976489"/>
                <a:gd name="connsiteY1" fmla="*/ 241371 h 4238316"/>
                <a:gd name="connsiteX2" fmla="*/ 3968307 w 3976489"/>
                <a:gd name="connsiteY2" fmla="*/ 4238316 h 4238316"/>
                <a:gd name="connsiteX3" fmla="*/ 0 w 3976489"/>
                <a:gd name="connsiteY3" fmla="*/ 4238316 h 4238316"/>
                <a:gd name="connsiteX0" fmla="*/ 2536444 w 3976489"/>
                <a:gd name="connsiteY0" fmla="*/ 0 h 4238316"/>
                <a:gd name="connsiteX1" fmla="*/ 3976489 w 3976489"/>
                <a:gd name="connsiteY1" fmla="*/ 213683 h 4238316"/>
                <a:gd name="connsiteX2" fmla="*/ 3968307 w 3976489"/>
                <a:gd name="connsiteY2" fmla="*/ 4238316 h 4238316"/>
                <a:gd name="connsiteX3" fmla="*/ 0 w 3976489"/>
                <a:gd name="connsiteY3" fmla="*/ 4238316 h 4238316"/>
                <a:gd name="connsiteX0" fmla="*/ 2473335 w 3976489"/>
                <a:gd name="connsiteY0" fmla="*/ 0 h 4035268"/>
                <a:gd name="connsiteX1" fmla="*/ 3976489 w 3976489"/>
                <a:gd name="connsiteY1" fmla="*/ 10635 h 4035268"/>
                <a:gd name="connsiteX2" fmla="*/ 3968307 w 3976489"/>
                <a:gd name="connsiteY2" fmla="*/ 4035268 h 4035268"/>
                <a:gd name="connsiteX3" fmla="*/ 0 w 3976489"/>
                <a:gd name="connsiteY3" fmla="*/ 4035268 h 4035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76489" h="4035268">
                  <a:moveTo>
                    <a:pt x="2473335" y="0"/>
                  </a:moveTo>
                  <a:lnTo>
                    <a:pt x="3976489" y="10635"/>
                  </a:lnTo>
                  <a:cubicBezTo>
                    <a:pt x="3973762" y="1342950"/>
                    <a:pt x="3971034" y="2702953"/>
                    <a:pt x="3968307" y="4035268"/>
                  </a:cubicBezTo>
                  <a:lnTo>
                    <a:pt x="0" y="4035268"/>
                  </a:lnTo>
                </a:path>
              </a:pathLst>
            </a:custGeom>
            <a:solidFill>
              <a:srgbClr val="999999">
                <a:alpha val="1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 dirty="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</p:grp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D01CFF7D-B6F4-4B1B-9C6A-AB93A7AA88C1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698064" y="2144105"/>
            <a:ext cx="2930334" cy="163998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sz="1350">
                <a:solidFill>
                  <a:schemeClr val="tx1">
                    <a:lumMod val="75000"/>
                    <a:lumOff val="25000"/>
                  </a:schemeClr>
                </a:solidFill>
                <a:latin typeface="Asap" panose="02000506040000020004" pitchFamily="2" charset="0"/>
                <a:cs typeface="Arial" pitchFamily="34" charset="0"/>
                <a:sym typeface="Asap" panose="02000506040000020004" pitchFamily="2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55430925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yle slide layou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0EEB9D8-D1AE-4FFE-B3B0-2E394141C0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284373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4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0EEB9D8-D1AE-4FFE-B3B0-2E394141C0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: Shape 3">
            <a:extLst>
              <a:ext uri="{FF2B5EF4-FFF2-40B4-BE49-F238E27FC236}">
                <a16:creationId xmlns:a16="http://schemas.microsoft.com/office/drawing/2014/main" id="{2C54D7FD-BDA4-445B-8877-80F2FB48F04C}"/>
              </a:ext>
            </a:extLst>
          </p:cNvPr>
          <p:cNvSpPr/>
          <p:nvPr userDrawn="1"/>
        </p:nvSpPr>
        <p:spPr>
          <a:xfrm>
            <a:off x="219577" y="234616"/>
            <a:ext cx="5627771" cy="4728410"/>
          </a:xfrm>
          <a:custGeom>
            <a:avLst/>
            <a:gdLst>
              <a:gd name="connsiteX0" fmla="*/ 0 w 8066763"/>
              <a:gd name="connsiteY0" fmla="*/ 0 h 6304547"/>
              <a:gd name="connsiteX1" fmla="*/ 8066763 w 8066763"/>
              <a:gd name="connsiteY1" fmla="*/ 0 h 6304547"/>
              <a:gd name="connsiteX2" fmla="*/ 5597407 w 8066763"/>
              <a:gd name="connsiteY2" fmla="*/ 6304547 h 6304547"/>
              <a:gd name="connsiteX3" fmla="*/ 0 w 8066763"/>
              <a:gd name="connsiteY3" fmla="*/ 6304547 h 63045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066763" h="6304547">
                <a:moveTo>
                  <a:pt x="0" y="0"/>
                </a:moveTo>
                <a:lnTo>
                  <a:pt x="8066763" y="0"/>
                </a:lnTo>
                <a:lnTo>
                  <a:pt x="5597407" y="6304547"/>
                </a:lnTo>
                <a:lnTo>
                  <a:pt x="0" y="6304547"/>
                </a:lnTo>
                <a:close/>
              </a:path>
            </a:pathLst>
          </a:cu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050">
              <a:latin typeface="Asap" panose="02000506040000020004" pitchFamily="2" charset="0"/>
              <a:sym typeface="Asap" panose="0200050604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907984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1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05B9128-FC43-4286-8F86-EFE55DE20C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119654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8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05B9128-FC43-4286-8F86-EFE55DE20C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자유형: 도형 8">
            <a:extLst>
              <a:ext uri="{FF2B5EF4-FFF2-40B4-BE49-F238E27FC236}">
                <a16:creationId xmlns:a16="http://schemas.microsoft.com/office/drawing/2014/main" id="{C2ABD529-FE83-4068-B43D-09D8C61354D1}"/>
              </a:ext>
            </a:extLst>
          </p:cNvPr>
          <p:cNvSpPr>
            <a:spLocks noGrp="1"/>
          </p:cNvSpPr>
          <p:nvPr>
            <p:ph type="pic" idx="11" hasCustomPrompt="1"/>
          </p:nvPr>
        </p:nvSpPr>
        <p:spPr>
          <a:xfrm>
            <a:off x="1099576" y="634526"/>
            <a:ext cx="4147493" cy="4092257"/>
          </a:xfrm>
          <a:custGeom>
            <a:avLst/>
            <a:gdLst>
              <a:gd name="connsiteX0" fmla="*/ 5203477 w 5529990"/>
              <a:gd name="connsiteY0" fmla="*/ 4996820 h 5456343"/>
              <a:gd name="connsiteX1" fmla="*/ 5205385 w 5529990"/>
              <a:gd name="connsiteY1" fmla="*/ 4997961 h 5456343"/>
              <a:gd name="connsiteX2" fmla="*/ 5204062 w 5529990"/>
              <a:gd name="connsiteY2" fmla="*/ 4999290 h 5456343"/>
              <a:gd name="connsiteX3" fmla="*/ 3285288 w 5529990"/>
              <a:gd name="connsiteY3" fmla="*/ 850958 h 5456343"/>
              <a:gd name="connsiteX4" fmla="*/ 3285287 w 5529990"/>
              <a:gd name="connsiteY4" fmla="*/ 957889 h 5456343"/>
              <a:gd name="connsiteX5" fmla="*/ 3309883 w 5529990"/>
              <a:gd name="connsiteY5" fmla="*/ 964960 h 5456343"/>
              <a:gd name="connsiteX6" fmla="*/ 3342876 w 5529990"/>
              <a:gd name="connsiteY6" fmla="*/ 959101 h 5456343"/>
              <a:gd name="connsiteX7" fmla="*/ 3347625 w 5529990"/>
              <a:gd name="connsiteY7" fmla="*/ 953011 h 5456343"/>
              <a:gd name="connsiteX8" fmla="*/ 3340340 w 5529990"/>
              <a:gd name="connsiteY8" fmla="*/ 917595 h 5456343"/>
              <a:gd name="connsiteX9" fmla="*/ 3323433 w 5529990"/>
              <a:gd name="connsiteY9" fmla="*/ 872062 h 5456343"/>
              <a:gd name="connsiteX10" fmla="*/ 3302259 w 5529990"/>
              <a:gd name="connsiteY10" fmla="*/ 854999 h 5456343"/>
              <a:gd name="connsiteX11" fmla="*/ 97597 w 5529990"/>
              <a:gd name="connsiteY11" fmla="*/ 97597 h 5456343"/>
              <a:gd name="connsiteX12" fmla="*/ 97597 w 5529990"/>
              <a:gd name="connsiteY12" fmla="*/ 3380541 h 5456343"/>
              <a:gd name="connsiteX13" fmla="*/ 925476 w 5529990"/>
              <a:gd name="connsiteY13" fmla="*/ 3380541 h 5456343"/>
              <a:gd name="connsiteX14" fmla="*/ 946229 w 5529990"/>
              <a:gd name="connsiteY14" fmla="*/ 3355733 h 5456343"/>
              <a:gd name="connsiteX15" fmla="*/ 978940 w 5529990"/>
              <a:gd name="connsiteY15" fmla="*/ 3351467 h 5456343"/>
              <a:gd name="connsiteX16" fmla="*/ 1007525 w 5529990"/>
              <a:gd name="connsiteY16" fmla="*/ 3349520 h 5456343"/>
              <a:gd name="connsiteX17" fmla="*/ 1031564 w 5529990"/>
              <a:gd name="connsiteY17" fmla="*/ 3353683 h 5456343"/>
              <a:gd name="connsiteX18" fmla="*/ 1032954 w 5529990"/>
              <a:gd name="connsiteY18" fmla="*/ 3351929 h 5456343"/>
              <a:gd name="connsiteX19" fmla="*/ 1046660 w 5529990"/>
              <a:gd name="connsiteY19" fmla="*/ 3307002 h 5456343"/>
              <a:gd name="connsiteX20" fmla="*/ 1050343 w 5529990"/>
              <a:gd name="connsiteY20" fmla="*/ 3285495 h 5456343"/>
              <a:gd name="connsiteX21" fmla="*/ 1053485 w 5529990"/>
              <a:gd name="connsiteY21" fmla="*/ 3281034 h 5456343"/>
              <a:gd name="connsiteX22" fmla="*/ 213108 w 5529990"/>
              <a:gd name="connsiteY22" fmla="*/ 3281033 h 5456343"/>
              <a:gd name="connsiteX23" fmla="*/ 213107 w 5529990"/>
              <a:gd name="connsiteY23" fmla="*/ 208854 h 5456343"/>
              <a:gd name="connsiteX24" fmla="*/ 3285287 w 5529990"/>
              <a:gd name="connsiteY24" fmla="*/ 208854 h 5456343"/>
              <a:gd name="connsiteX25" fmla="*/ 3285287 w 5529990"/>
              <a:gd name="connsiteY25" fmla="*/ 805089 h 5456343"/>
              <a:gd name="connsiteX26" fmla="*/ 3285421 w 5529990"/>
              <a:gd name="connsiteY26" fmla="*/ 805084 h 5456343"/>
              <a:gd name="connsiteX27" fmla="*/ 3308726 w 5529990"/>
              <a:gd name="connsiteY27" fmla="*/ 825294 h 5456343"/>
              <a:gd name="connsiteX28" fmla="*/ 3343101 w 5529990"/>
              <a:gd name="connsiteY28" fmla="*/ 834936 h 5456343"/>
              <a:gd name="connsiteX29" fmla="*/ 3357542 w 5529990"/>
              <a:gd name="connsiteY29" fmla="*/ 829717 h 5456343"/>
              <a:gd name="connsiteX30" fmla="*/ 3389087 w 5529990"/>
              <a:gd name="connsiteY30" fmla="*/ 840123 h 5456343"/>
              <a:gd name="connsiteX31" fmla="*/ 3389087 w 5529990"/>
              <a:gd name="connsiteY31" fmla="*/ 97597 h 5456343"/>
              <a:gd name="connsiteX32" fmla="*/ 0 w 5529990"/>
              <a:gd name="connsiteY32" fmla="*/ 0 h 5456343"/>
              <a:gd name="connsiteX33" fmla="*/ 3486684 w 5529990"/>
              <a:gd name="connsiteY33" fmla="*/ 0 h 5456343"/>
              <a:gd name="connsiteX34" fmla="*/ 3486684 w 5529990"/>
              <a:gd name="connsiteY34" fmla="*/ 833838 h 5456343"/>
              <a:gd name="connsiteX35" fmla="*/ 3500172 w 5529990"/>
              <a:gd name="connsiteY35" fmla="*/ 834269 h 5456343"/>
              <a:gd name="connsiteX36" fmla="*/ 3516226 w 5529990"/>
              <a:gd name="connsiteY36" fmla="*/ 839003 h 5456343"/>
              <a:gd name="connsiteX37" fmla="*/ 3647545 w 5529990"/>
              <a:gd name="connsiteY37" fmla="*/ 866570 h 5456343"/>
              <a:gd name="connsiteX38" fmla="*/ 3662947 w 5529990"/>
              <a:gd name="connsiteY38" fmla="*/ 857912 h 5456343"/>
              <a:gd name="connsiteX39" fmla="*/ 3656762 w 5529990"/>
              <a:gd name="connsiteY39" fmla="*/ 846906 h 5456343"/>
              <a:gd name="connsiteX40" fmla="*/ 3515960 w 5529990"/>
              <a:gd name="connsiteY40" fmla="*/ 787015 h 5456343"/>
              <a:gd name="connsiteX41" fmla="*/ 3489147 w 5529990"/>
              <a:gd name="connsiteY41" fmla="*/ 770223 h 5456343"/>
              <a:gd name="connsiteX42" fmla="*/ 3498229 w 5529990"/>
              <a:gd name="connsiteY42" fmla="*/ 724565 h 5456343"/>
              <a:gd name="connsiteX43" fmla="*/ 3516829 w 5529990"/>
              <a:gd name="connsiteY43" fmla="*/ 717732 h 5456343"/>
              <a:gd name="connsiteX44" fmla="*/ 3531095 w 5529990"/>
              <a:gd name="connsiteY44" fmla="*/ 726369 h 5456343"/>
              <a:gd name="connsiteX45" fmla="*/ 3557357 w 5529990"/>
              <a:gd name="connsiteY45" fmla="*/ 731881 h 5456343"/>
              <a:gd name="connsiteX46" fmla="*/ 3581695 w 5529990"/>
              <a:gd name="connsiteY46" fmla="*/ 744271 h 5456343"/>
              <a:gd name="connsiteX47" fmla="*/ 3651817 w 5529990"/>
              <a:gd name="connsiteY47" fmla="*/ 791752 h 5456343"/>
              <a:gd name="connsiteX48" fmla="*/ 3701043 w 5529990"/>
              <a:gd name="connsiteY48" fmla="*/ 827808 h 5456343"/>
              <a:gd name="connsiteX49" fmla="*/ 3778589 w 5529990"/>
              <a:gd name="connsiteY49" fmla="*/ 888498 h 5456343"/>
              <a:gd name="connsiteX50" fmla="*/ 3870983 w 5529990"/>
              <a:gd name="connsiteY50" fmla="*/ 975599 h 5456343"/>
              <a:gd name="connsiteX51" fmla="*/ 3913472 w 5529990"/>
              <a:gd name="connsiteY51" fmla="*/ 989372 h 5456343"/>
              <a:gd name="connsiteX52" fmla="*/ 3940973 w 5529990"/>
              <a:gd name="connsiteY52" fmla="*/ 997085 h 5456343"/>
              <a:gd name="connsiteX53" fmla="*/ 3982772 w 5529990"/>
              <a:gd name="connsiteY53" fmla="*/ 1019936 h 5456343"/>
              <a:gd name="connsiteX54" fmla="*/ 3937964 w 5529990"/>
              <a:gd name="connsiteY54" fmla="*/ 888706 h 5456343"/>
              <a:gd name="connsiteX55" fmla="*/ 3899601 w 5529990"/>
              <a:gd name="connsiteY55" fmla="*/ 866821 h 5456343"/>
              <a:gd name="connsiteX56" fmla="*/ 3853267 w 5529990"/>
              <a:gd name="connsiteY56" fmla="*/ 820451 h 5456343"/>
              <a:gd name="connsiteX57" fmla="*/ 3829759 w 5529990"/>
              <a:gd name="connsiteY57" fmla="*/ 778630 h 5456343"/>
              <a:gd name="connsiteX58" fmla="*/ 3899474 w 5529990"/>
              <a:gd name="connsiteY58" fmla="*/ 794477 h 5456343"/>
              <a:gd name="connsiteX59" fmla="*/ 3949113 w 5529990"/>
              <a:gd name="connsiteY59" fmla="*/ 815817 h 5456343"/>
              <a:gd name="connsiteX60" fmla="*/ 3979087 w 5529990"/>
              <a:gd name="connsiteY60" fmla="*/ 827934 h 5456343"/>
              <a:gd name="connsiteX61" fmla="*/ 4029548 w 5529990"/>
              <a:gd name="connsiteY61" fmla="*/ 866192 h 5456343"/>
              <a:gd name="connsiteX62" fmla="*/ 4074646 w 5529990"/>
              <a:gd name="connsiteY62" fmla="*/ 910362 h 5456343"/>
              <a:gd name="connsiteX63" fmla="*/ 4111496 w 5529990"/>
              <a:gd name="connsiteY63" fmla="*/ 924407 h 5456343"/>
              <a:gd name="connsiteX64" fmla="*/ 4161957 w 5529990"/>
              <a:gd name="connsiteY64" fmla="*/ 962664 h 5456343"/>
              <a:gd name="connsiteX65" fmla="*/ 4131426 w 5529990"/>
              <a:gd name="connsiteY65" fmla="*/ 985620 h 5456343"/>
              <a:gd name="connsiteX66" fmla="*/ 4134857 w 5529990"/>
              <a:gd name="connsiteY66" fmla="*/ 1032933 h 5456343"/>
              <a:gd name="connsiteX67" fmla="*/ 4138703 w 5529990"/>
              <a:gd name="connsiteY67" fmla="*/ 1065530 h 5456343"/>
              <a:gd name="connsiteX68" fmla="*/ 4128249 w 5529990"/>
              <a:gd name="connsiteY68" fmla="*/ 1082993 h 5456343"/>
              <a:gd name="connsiteX69" fmla="*/ 4147363 w 5529990"/>
              <a:gd name="connsiteY69" fmla="*/ 1080938 h 5456343"/>
              <a:gd name="connsiteX70" fmla="*/ 4170738 w 5529990"/>
              <a:gd name="connsiteY70" fmla="*/ 1096765 h 5456343"/>
              <a:gd name="connsiteX71" fmla="*/ 4166471 w 5529990"/>
              <a:gd name="connsiteY71" fmla="*/ 1125234 h 5456343"/>
              <a:gd name="connsiteX72" fmla="*/ 4151337 w 5529990"/>
              <a:gd name="connsiteY72" fmla="*/ 1185880 h 5456343"/>
              <a:gd name="connsiteX73" fmla="*/ 4159309 w 5529990"/>
              <a:gd name="connsiteY73" fmla="*/ 1210365 h 5456343"/>
              <a:gd name="connsiteX74" fmla="*/ 4205665 w 5529990"/>
              <a:gd name="connsiteY74" fmla="*/ 1117687 h 5456343"/>
              <a:gd name="connsiteX75" fmla="*/ 4209517 w 5529990"/>
              <a:gd name="connsiteY75" fmla="*/ 1103935 h 5456343"/>
              <a:gd name="connsiteX76" fmla="*/ 4224918 w 5529990"/>
              <a:gd name="connsiteY76" fmla="*/ 1095278 h 5456343"/>
              <a:gd name="connsiteX77" fmla="*/ 4232341 w 5529990"/>
              <a:gd name="connsiteY77" fmla="*/ 1108484 h 5456343"/>
              <a:gd name="connsiteX78" fmla="*/ 4211843 w 5529990"/>
              <a:gd name="connsiteY78" fmla="*/ 1175042 h 5456343"/>
              <a:gd name="connsiteX79" fmla="*/ 4227373 w 5529990"/>
              <a:gd name="connsiteY79" fmla="*/ 1238729 h 5456343"/>
              <a:gd name="connsiteX80" fmla="*/ 4277010 w 5529990"/>
              <a:gd name="connsiteY80" fmla="*/ 1260069 h 5456343"/>
              <a:gd name="connsiteX81" fmla="*/ 4319914 w 5529990"/>
              <a:gd name="connsiteY81" fmla="*/ 1259126 h 5456343"/>
              <a:gd name="connsiteX82" fmla="*/ 4394024 w 5529990"/>
              <a:gd name="connsiteY82" fmla="*/ 1318850 h 5456343"/>
              <a:gd name="connsiteX83" fmla="*/ 4439529 w 5529990"/>
              <a:gd name="connsiteY83" fmla="*/ 1394653 h 5456343"/>
              <a:gd name="connsiteX84" fmla="*/ 4465896 w 5529990"/>
              <a:gd name="connsiteY84" fmla="*/ 1405900 h 5456343"/>
              <a:gd name="connsiteX85" fmla="*/ 4496792 w 5529990"/>
              <a:gd name="connsiteY85" fmla="*/ 1389917 h 5456343"/>
              <a:gd name="connsiteX86" fmla="*/ 4517002 w 5529990"/>
              <a:gd name="connsiteY86" fmla="*/ 1350259 h 5456343"/>
              <a:gd name="connsiteX87" fmla="*/ 4543362 w 5529990"/>
              <a:gd name="connsiteY87" fmla="*/ 1292820 h 5456343"/>
              <a:gd name="connsiteX88" fmla="*/ 4573307 w 5529990"/>
              <a:gd name="connsiteY88" fmla="*/ 1288454 h 5456343"/>
              <a:gd name="connsiteX89" fmla="*/ 4586211 w 5529990"/>
              <a:gd name="connsiteY89" fmla="*/ 1309822 h 5456343"/>
              <a:gd name="connsiteX90" fmla="*/ 4565007 w 5529990"/>
              <a:gd name="connsiteY90" fmla="*/ 1374097 h 5456343"/>
              <a:gd name="connsiteX91" fmla="*/ 4525037 w 5529990"/>
              <a:gd name="connsiteY91" fmla="*/ 1424592 h 5456343"/>
              <a:gd name="connsiteX92" fmla="*/ 4537809 w 5529990"/>
              <a:gd name="connsiteY92" fmla="*/ 1428478 h 5456343"/>
              <a:gd name="connsiteX93" fmla="*/ 4570157 w 5529990"/>
              <a:gd name="connsiteY93" fmla="*/ 1431296 h 5456343"/>
              <a:gd name="connsiteX94" fmla="*/ 4584183 w 5529990"/>
              <a:gd name="connsiteY94" fmla="*/ 1440791 h 5456343"/>
              <a:gd name="connsiteX95" fmla="*/ 4615797 w 5529990"/>
              <a:gd name="connsiteY95" fmla="*/ 1533093 h 5456343"/>
              <a:gd name="connsiteX96" fmla="*/ 4630077 w 5529990"/>
              <a:gd name="connsiteY96" fmla="*/ 1568154 h 5456343"/>
              <a:gd name="connsiteX97" fmla="*/ 4642622 w 5529990"/>
              <a:gd name="connsiteY97" fmla="*/ 1584865 h 5456343"/>
              <a:gd name="connsiteX98" fmla="*/ 4650392 w 5529990"/>
              <a:gd name="connsiteY98" fmla="*/ 1585335 h 5456343"/>
              <a:gd name="connsiteX99" fmla="*/ 4706855 w 5529990"/>
              <a:gd name="connsiteY99" fmla="*/ 1574900 h 5456343"/>
              <a:gd name="connsiteX100" fmla="*/ 4733741 w 5529990"/>
              <a:gd name="connsiteY100" fmla="*/ 1584777 h 5456343"/>
              <a:gd name="connsiteX101" fmla="*/ 4735707 w 5529990"/>
              <a:gd name="connsiteY101" fmla="*/ 1602394 h 5456343"/>
              <a:gd name="connsiteX102" fmla="*/ 4744256 w 5529990"/>
              <a:gd name="connsiteY102" fmla="*/ 1600647 h 5456343"/>
              <a:gd name="connsiteX103" fmla="*/ 4780936 w 5529990"/>
              <a:gd name="connsiteY103" fmla="*/ 1605372 h 5456343"/>
              <a:gd name="connsiteX104" fmla="*/ 4803756 w 5529990"/>
              <a:gd name="connsiteY104" fmla="*/ 1656271 h 5456343"/>
              <a:gd name="connsiteX105" fmla="*/ 4782161 w 5529990"/>
              <a:gd name="connsiteY105" fmla="*/ 1700274 h 5456343"/>
              <a:gd name="connsiteX106" fmla="*/ 4785999 w 5529990"/>
              <a:gd name="connsiteY106" fmla="*/ 1779221 h 5456343"/>
              <a:gd name="connsiteX107" fmla="*/ 4800847 w 5529990"/>
              <a:gd name="connsiteY107" fmla="*/ 1805635 h 5456343"/>
              <a:gd name="connsiteX108" fmla="*/ 4804501 w 5529990"/>
              <a:gd name="connsiteY108" fmla="*/ 1810637 h 5456343"/>
              <a:gd name="connsiteX109" fmla="*/ 4845375 w 5529990"/>
              <a:gd name="connsiteY109" fmla="*/ 1808249 h 5456343"/>
              <a:gd name="connsiteX110" fmla="*/ 4843969 w 5529990"/>
              <a:gd name="connsiteY110" fmla="*/ 1825149 h 5456343"/>
              <a:gd name="connsiteX111" fmla="*/ 4843929 w 5529990"/>
              <a:gd name="connsiteY111" fmla="*/ 1825206 h 5456343"/>
              <a:gd name="connsiteX112" fmla="*/ 4852839 w 5529990"/>
              <a:gd name="connsiteY112" fmla="*/ 1826013 h 5456343"/>
              <a:gd name="connsiteX113" fmla="*/ 4872074 w 5529990"/>
              <a:gd name="connsiteY113" fmla="*/ 1829323 h 5456343"/>
              <a:gd name="connsiteX114" fmla="*/ 4925096 w 5529990"/>
              <a:gd name="connsiteY114" fmla="*/ 1859262 h 5456343"/>
              <a:gd name="connsiteX115" fmla="*/ 4929808 w 5529990"/>
              <a:gd name="connsiteY115" fmla="*/ 1883858 h 5456343"/>
              <a:gd name="connsiteX116" fmla="*/ 4939343 w 5529990"/>
              <a:gd name="connsiteY116" fmla="*/ 1886966 h 5456343"/>
              <a:gd name="connsiteX117" fmla="*/ 4991962 w 5529990"/>
              <a:gd name="connsiteY117" fmla="*/ 1878897 h 5456343"/>
              <a:gd name="connsiteX118" fmla="*/ 5003950 w 5529990"/>
              <a:gd name="connsiteY118" fmla="*/ 1880575 h 5456343"/>
              <a:gd name="connsiteX119" fmla="*/ 4972381 w 5529990"/>
              <a:gd name="connsiteY119" fmla="*/ 1914056 h 5456343"/>
              <a:gd name="connsiteX120" fmla="*/ 4975836 w 5529990"/>
              <a:gd name="connsiteY120" fmla="*/ 1924321 h 5456343"/>
              <a:gd name="connsiteX121" fmla="*/ 5015575 w 5529990"/>
              <a:gd name="connsiteY121" fmla="*/ 2048343 h 5456343"/>
              <a:gd name="connsiteX122" fmla="*/ 5014612 w 5529990"/>
              <a:gd name="connsiteY122" fmla="*/ 2066816 h 5456343"/>
              <a:gd name="connsiteX123" fmla="*/ 5068869 w 5529990"/>
              <a:gd name="connsiteY123" fmla="*/ 2055795 h 5456343"/>
              <a:gd name="connsiteX124" fmla="*/ 5135512 w 5529990"/>
              <a:gd name="connsiteY124" fmla="*/ 2040422 h 5456343"/>
              <a:gd name="connsiteX125" fmla="*/ 5180616 w 5529990"/>
              <a:gd name="connsiteY125" fmla="*/ 2038241 h 5456343"/>
              <a:gd name="connsiteX126" fmla="*/ 5204265 w 5529990"/>
              <a:gd name="connsiteY126" fmla="*/ 2059708 h 5456343"/>
              <a:gd name="connsiteX127" fmla="*/ 5192160 w 5529990"/>
              <a:gd name="connsiteY127" fmla="*/ 2089685 h 5456343"/>
              <a:gd name="connsiteX128" fmla="*/ 5148842 w 5529990"/>
              <a:gd name="connsiteY128" fmla="*/ 2105345 h 5456343"/>
              <a:gd name="connsiteX129" fmla="*/ 5101673 w 5529990"/>
              <a:gd name="connsiteY129" fmla="*/ 2134757 h 5456343"/>
              <a:gd name="connsiteX130" fmla="*/ 5078431 w 5529990"/>
              <a:gd name="connsiteY130" fmla="*/ 2144923 h 5456343"/>
              <a:gd name="connsiteX131" fmla="*/ 5052563 w 5529990"/>
              <a:gd name="connsiteY131" fmla="*/ 2144620 h 5456343"/>
              <a:gd name="connsiteX132" fmla="*/ 5037286 w 5529990"/>
              <a:gd name="connsiteY132" fmla="*/ 2142869 h 5456343"/>
              <a:gd name="connsiteX133" fmla="*/ 5039213 w 5529990"/>
              <a:gd name="connsiteY133" fmla="*/ 2146539 h 5456343"/>
              <a:gd name="connsiteX134" fmla="*/ 5030489 w 5529990"/>
              <a:gd name="connsiteY134" fmla="*/ 2163045 h 5456343"/>
              <a:gd name="connsiteX135" fmla="*/ 5028179 w 5529990"/>
              <a:gd name="connsiteY135" fmla="*/ 2165369 h 5456343"/>
              <a:gd name="connsiteX136" fmla="*/ 5046078 w 5529990"/>
              <a:gd name="connsiteY136" fmla="*/ 2171076 h 5456343"/>
              <a:gd name="connsiteX137" fmla="*/ 5093139 w 5529990"/>
              <a:gd name="connsiteY137" fmla="*/ 2191692 h 5456343"/>
              <a:gd name="connsiteX138" fmla="*/ 5123662 w 5529990"/>
              <a:gd name="connsiteY138" fmla="*/ 2215086 h 5456343"/>
              <a:gd name="connsiteX139" fmla="*/ 5128611 w 5529990"/>
              <a:gd name="connsiteY139" fmla="*/ 2223892 h 5456343"/>
              <a:gd name="connsiteX140" fmla="*/ 5228422 w 5529990"/>
              <a:gd name="connsiteY140" fmla="*/ 2370550 h 5456343"/>
              <a:gd name="connsiteX141" fmla="*/ 5228697 w 5529990"/>
              <a:gd name="connsiteY141" fmla="*/ 2376188 h 5456343"/>
              <a:gd name="connsiteX142" fmla="*/ 5262652 w 5529990"/>
              <a:gd name="connsiteY142" fmla="*/ 2446897 h 5456343"/>
              <a:gd name="connsiteX143" fmla="*/ 5299355 w 5529990"/>
              <a:gd name="connsiteY143" fmla="*/ 2527647 h 5456343"/>
              <a:gd name="connsiteX144" fmla="*/ 5348719 w 5529990"/>
              <a:gd name="connsiteY144" fmla="*/ 2543349 h 5456343"/>
              <a:gd name="connsiteX145" fmla="*/ 5393408 w 5529990"/>
              <a:gd name="connsiteY145" fmla="*/ 2555885 h 5456343"/>
              <a:gd name="connsiteX146" fmla="*/ 5407160 w 5529990"/>
              <a:gd name="connsiteY146" fmla="*/ 2559743 h 5456343"/>
              <a:gd name="connsiteX147" fmla="*/ 5472613 w 5529990"/>
              <a:gd name="connsiteY147" fmla="*/ 2557709 h 5456343"/>
              <a:gd name="connsiteX148" fmla="*/ 5485949 w 5529990"/>
              <a:gd name="connsiteY148" fmla="*/ 2576283 h 5456343"/>
              <a:gd name="connsiteX149" fmla="*/ 5476734 w 5529990"/>
              <a:gd name="connsiteY149" fmla="*/ 2595946 h 5456343"/>
              <a:gd name="connsiteX150" fmla="*/ 5490484 w 5529990"/>
              <a:gd name="connsiteY150" fmla="*/ 2599804 h 5456343"/>
              <a:gd name="connsiteX151" fmla="*/ 5519497 w 5529990"/>
              <a:gd name="connsiteY151" fmla="*/ 2615358 h 5456343"/>
              <a:gd name="connsiteX152" fmla="*/ 5529803 w 5529990"/>
              <a:gd name="connsiteY152" fmla="*/ 2664600 h 5456343"/>
              <a:gd name="connsiteX153" fmla="*/ 5499679 w 5529990"/>
              <a:gd name="connsiteY153" fmla="*/ 2719188 h 5456343"/>
              <a:gd name="connsiteX154" fmla="*/ 5457599 w 5529990"/>
              <a:gd name="connsiteY154" fmla="*/ 2737049 h 5456343"/>
              <a:gd name="connsiteX155" fmla="*/ 5390773 w 5529990"/>
              <a:gd name="connsiteY155" fmla="*/ 2710887 h 5456343"/>
              <a:gd name="connsiteX156" fmla="*/ 5381838 w 5529990"/>
              <a:gd name="connsiteY156" fmla="*/ 2689840 h 5456343"/>
              <a:gd name="connsiteX157" fmla="*/ 5381571 w 5529990"/>
              <a:gd name="connsiteY157" fmla="*/ 2637851 h 5456343"/>
              <a:gd name="connsiteX158" fmla="*/ 5289992 w 5529990"/>
              <a:gd name="connsiteY158" fmla="*/ 2614017 h 5456343"/>
              <a:gd name="connsiteX159" fmla="*/ 5259180 w 5529990"/>
              <a:gd name="connsiteY159" fmla="*/ 2677681 h 5456343"/>
              <a:gd name="connsiteX160" fmla="*/ 5222176 w 5529990"/>
              <a:gd name="connsiteY160" fmla="*/ 2776691 h 5456343"/>
              <a:gd name="connsiteX161" fmla="*/ 5205122 w 5529990"/>
              <a:gd name="connsiteY161" fmla="*/ 2797863 h 5456343"/>
              <a:gd name="connsiteX162" fmla="*/ 5159054 w 5529990"/>
              <a:gd name="connsiteY162" fmla="*/ 2803482 h 5456343"/>
              <a:gd name="connsiteX163" fmla="*/ 5134992 w 5529990"/>
              <a:gd name="connsiteY163" fmla="*/ 2796732 h 5456343"/>
              <a:gd name="connsiteX164" fmla="*/ 5042589 w 5529990"/>
              <a:gd name="connsiteY164" fmla="*/ 2755979 h 5456343"/>
              <a:gd name="connsiteX165" fmla="*/ 5027187 w 5529990"/>
              <a:gd name="connsiteY165" fmla="*/ 2764637 h 5456343"/>
              <a:gd name="connsiteX166" fmla="*/ 5017692 w 5529990"/>
              <a:gd name="connsiteY166" fmla="*/ 2825011 h 5456343"/>
              <a:gd name="connsiteX167" fmla="*/ 4929276 w 5529990"/>
              <a:gd name="connsiteY167" fmla="*/ 2796501 h 5456343"/>
              <a:gd name="connsiteX168" fmla="*/ 4898064 w 5529990"/>
              <a:gd name="connsiteY168" fmla="*/ 2782184 h 5456343"/>
              <a:gd name="connsiteX169" fmla="*/ 4888987 w 5529990"/>
              <a:gd name="connsiteY169" fmla="*/ 2781492 h 5456343"/>
              <a:gd name="connsiteX170" fmla="*/ 4828476 w 5529990"/>
              <a:gd name="connsiteY170" fmla="*/ 2838679 h 5456343"/>
              <a:gd name="connsiteX171" fmla="*/ 4792012 w 5529990"/>
              <a:gd name="connsiteY171" fmla="*/ 2995316 h 5456343"/>
              <a:gd name="connsiteX172" fmla="*/ 4799984 w 5529990"/>
              <a:gd name="connsiteY172" fmla="*/ 3019801 h 5456343"/>
              <a:gd name="connsiteX173" fmla="*/ 4837243 w 5529990"/>
              <a:gd name="connsiteY173" fmla="*/ 3065480 h 5456343"/>
              <a:gd name="connsiteX174" fmla="*/ 4841777 w 5529990"/>
              <a:gd name="connsiteY174" fmla="*/ 3089001 h 5456343"/>
              <a:gd name="connsiteX175" fmla="*/ 4860050 w 5529990"/>
              <a:gd name="connsiteY175" fmla="*/ 3209077 h 5456343"/>
              <a:gd name="connsiteX176" fmla="*/ 4861834 w 5529990"/>
              <a:gd name="connsiteY176" fmla="*/ 3222557 h 5456343"/>
              <a:gd name="connsiteX177" fmla="*/ 4816322 w 5529990"/>
              <a:gd name="connsiteY177" fmla="*/ 3193104 h 5456343"/>
              <a:gd name="connsiteX178" fmla="*/ 4699177 w 5529990"/>
              <a:gd name="connsiteY178" fmla="*/ 3108328 h 5456343"/>
              <a:gd name="connsiteX179" fmla="*/ 4644723 w 5529990"/>
              <a:gd name="connsiteY179" fmla="*/ 3104179 h 5456343"/>
              <a:gd name="connsiteX180" fmla="*/ 4540752 w 5529990"/>
              <a:gd name="connsiteY180" fmla="*/ 3197380 h 5456343"/>
              <a:gd name="connsiteX181" fmla="*/ 4544184 w 5529990"/>
              <a:gd name="connsiteY181" fmla="*/ 3244695 h 5456343"/>
              <a:gd name="connsiteX182" fmla="*/ 4596283 w 5529990"/>
              <a:gd name="connsiteY182" fmla="*/ 3363136 h 5456343"/>
              <a:gd name="connsiteX183" fmla="*/ 4610716 w 5529990"/>
              <a:gd name="connsiteY183" fmla="*/ 3404267 h 5456343"/>
              <a:gd name="connsiteX184" fmla="*/ 4739666 w 5529990"/>
              <a:gd name="connsiteY184" fmla="*/ 3638823 h 5456343"/>
              <a:gd name="connsiteX185" fmla="*/ 4782837 w 5529990"/>
              <a:gd name="connsiteY185" fmla="*/ 3689868 h 5456343"/>
              <a:gd name="connsiteX186" fmla="*/ 4815006 w 5529990"/>
              <a:gd name="connsiteY186" fmla="*/ 3747099 h 5456343"/>
              <a:gd name="connsiteX187" fmla="*/ 4829032 w 5529990"/>
              <a:gd name="connsiteY187" fmla="*/ 3756594 h 5456343"/>
              <a:gd name="connsiteX188" fmla="*/ 4837004 w 5529990"/>
              <a:gd name="connsiteY188" fmla="*/ 3781080 h 5456343"/>
              <a:gd name="connsiteX189" fmla="*/ 4809775 w 5529990"/>
              <a:gd name="connsiteY189" fmla="*/ 3779005 h 5456343"/>
              <a:gd name="connsiteX190" fmla="*/ 4786128 w 5529990"/>
              <a:gd name="connsiteY190" fmla="*/ 3757537 h 5456343"/>
              <a:gd name="connsiteX191" fmla="*/ 4725360 w 5529990"/>
              <a:gd name="connsiteY191" fmla="*/ 3670038 h 5456343"/>
              <a:gd name="connsiteX192" fmla="*/ 4594209 w 5529990"/>
              <a:gd name="connsiteY192" fmla="*/ 3436718 h 5456343"/>
              <a:gd name="connsiteX193" fmla="*/ 4558738 w 5529990"/>
              <a:gd name="connsiteY193" fmla="*/ 3404519 h 5456343"/>
              <a:gd name="connsiteX194" fmla="*/ 4480507 w 5529990"/>
              <a:gd name="connsiteY194" fmla="*/ 3306558 h 5456343"/>
              <a:gd name="connsiteX195" fmla="*/ 4381231 w 5529990"/>
              <a:gd name="connsiteY195" fmla="*/ 3263877 h 5456343"/>
              <a:gd name="connsiteX196" fmla="*/ 4271213 w 5529990"/>
              <a:gd name="connsiteY196" fmla="*/ 3325719 h 5456343"/>
              <a:gd name="connsiteX197" fmla="*/ 4243839 w 5529990"/>
              <a:gd name="connsiteY197" fmla="*/ 3390348 h 5456343"/>
              <a:gd name="connsiteX198" fmla="*/ 4245828 w 5529990"/>
              <a:gd name="connsiteY198" fmla="*/ 3431231 h 5456343"/>
              <a:gd name="connsiteX199" fmla="*/ 4249487 w 5529990"/>
              <a:gd name="connsiteY199" fmla="*/ 3458234 h 5456343"/>
              <a:gd name="connsiteX200" fmla="*/ 4268459 w 5529990"/>
              <a:gd name="connsiteY200" fmla="*/ 3485180 h 5456343"/>
              <a:gd name="connsiteX201" fmla="*/ 4301641 w 5529990"/>
              <a:gd name="connsiteY201" fmla="*/ 3549872 h 5456343"/>
              <a:gd name="connsiteX202" fmla="*/ 4327699 w 5529990"/>
              <a:gd name="connsiteY202" fmla="*/ 3562381 h 5456343"/>
              <a:gd name="connsiteX203" fmla="*/ 4443283 w 5529990"/>
              <a:gd name="connsiteY203" fmla="*/ 3566565 h 5456343"/>
              <a:gd name="connsiteX204" fmla="*/ 4362331 w 5529990"/>
              <a:gd name="connsiteY204" fmla="*/ 3599313 h 5456343"/>
              <a:gd name="connsiteX205" fmla="*/ 4297508 w 5529990"/>
              <a:gd name="connsiteY205" fmla="*/ 3698587 h 5456343"/>
              <a:gd name="connsiteX206" fmla="*/ 4338953 w 5529990"/>
              <a:gd name="connsiteY206" fmla="*/ 3730240 h 5456343"/>
              <a:gd name="connsiteX207" fmla="*/ 4372142 w 5529990"/>
              <a:gd name="connsiteY207" fmla="*/ 3730140 h 5456343"/>
              <a:gd name="connsiteX208" fmla="*/ 4336403 w 5529990"/>
              <a:gd name="connsiteY208" fmla="*/ 3760011 h 5456343"/>
              <a:gd name="connsiteX209" fmla="*/ 4322595 w 5529990"/>
              <a:gd name="connsiteY209" fmla="*/ 3786514 h 5456343"/>
              <a:gd name="connsiteX210" fmla="*/ 4384277 w 5529990"/>
              <a:gd name="connsiteY210" fmla="*/ 3871702 h 5456343"/>
              <a:gd name="connsiteX211" fmla="*/ 4434476 w 5529990"/>
              <a:gd name="connsiteY211" fmla="*/ 3911831 h 5456343"/>
              <a:gd name="connsiteX212" fmla="*/ 4475830 w 5529990"/>
              <a:gd name="connsiteY212" fmla="*/ 3992604 h 5456343"/>
              <a:gd name="connsiteX213" fmla="*/ 4523073 w 5529990"/>
              <a:gd name="connsiteY213" fmla="*/ 4036659 h 5456343"/>
              <a:gd name="connsiteX214" fmla="*/ 4538122 w 5529990"/>
              <a:gd name="connsiteY214" fmla="*/ 4034264 h 5456343"/>
              <a:gd name="connsiteX215" fmla="*/ 4501368 w 5529990"/>
              <a:gd name="connsiteY215" fmla="*/ 4081817 h 5456343"/>
              <a:gd name="connsiteX216" fmla="*/ 4473367 w 5529990"/>
              <a:gd name="connsiteY216" fmla="*/ 4137847 h 5456343"/>
              <a:gd name="connsiteX217" fmla="*/ 4497959 w 5529990"/>
              <a:gd name="connsiteY217" fmla="*/ 4166752 h 5456343"/>
              <a:gd name="connsiteX218" fmla="*/ 4539336 w 5529990"/>
              <a:gd name="connsiteY218" fmla="*/ 4194097 h 5456343"/>
              <a:gd name="connsiteX219" fmla="*/ 4517947 w 5529990"/>
              <a:gd name="connsiteY219" fmla="*/ 4231925 h 5456343"/>
              <a:gd name="connsiteX220" fmla="*/ 4508696 w 5529990"/>
              <a:gd name="connsiteY220" fmla="*/ 4246722 h 5456343"/>
              <a:gd name="connsiteX221" fmla="*/ 4532701 w 5529990"/>
              <a:gd name="connsiteY221" fmla="*/ 4265727 h 5456343"/>
              <a:gd name="connsiteX222" fmla="*/ 4569138 w 5529990"/>
              <a:gd name="connsiteY222" fmla="*/ 4307801 h 5456343"/>
              <a:gd name="connsiteX223" fmla="*/ 4581251 w 5529990"/>
              <a:gd name="connsiteY223" fmla="*/ 4356204 h 5456343"/>
              <a:gd name="connsiteX224" fmla="*/ 4581479 w 5529990"/>
              <a:gd name="connsiteY224" fmla="*/ 4355344 h 5456343"/>
              <a:gd name="connsiteX225" fmla="*/ 4587279 w 5529990"/>
              <a:gd name="connsiteY225" fmla="*/ 4351160 h 5456343"/>
              <a:gd name="connsiteX226" fmla="*/ 4644474 w 5529990"/>
              <a:gd name="connsiteY226" fmla="*/ 4303653 h 5456343"/>
              <a:gd name="connsiteX227" fmla="*/ 4741598 w 5529990"/>
              <a:gd name="connsiteY227" fmla="*/ 4274501 h 5456343"/>
              <a:gd name="connsiteX228" fmla="*/ 4775052 w 5529990"/>
              <a:gd name="connsiteY228" fmla="*/ 4260465 h 5456343"/>
              <a:gd name="connsiteX229" fmla="*/ 4822535 w 5529990"/>
              <a:gd name="connsiteY229" fmla="*/ 4263704 h 5456343"/>
              <a:gd name="connsiteX230" fmla="*/ 4862464 w 5529990"/>
              <a:gd name="connsiteY230" fmla="*/ 4268023 h 5456343"/>
              <a:gd name="connsiteX231" fmla="*/ 4878651 w 5529990"/>
              <a:gd name="connsiteY231" fmla="*/ 4266943 h 5456343"/>
              <a:gd name="connsiteX232" fmla="*/ 4952034 w 5529990"/>
              <a:gd name="connsiteY232" fmla="*/ 4330645 h 5456343"/>
              <a:gd name="connsiteX233" fmla="*/ 4987646 w 5529990"/>
              <a:gd name="connsiteY233" fmla="*/ 4391109 h 5456343"/>
              <a:gd name="connsiteX234" fmla="*/ 5046999 w 5529990"/>
              <a:gd name="connsiteY234" fmla="*/ 4436456 h 5456343"/>
              <a:gd name="connsiteX235" fmla="*/ 5058870 w 5529990"/>
              <a:gd name="connsiteY235" fmla="*/ 4429978 h 5456343"/>
              <a:gd name="connsiteX236" fmla="*/ 5134411 w 5529990"/>
              <a:gd name="connsiteY236" fmla="*/ 4366276 h 5456343"/>
              <a:gd name="connsiteX237" fmla="*/ 5151678 w 5529990"/>
              <a:gd name="connsiteY237" fmla="*/ 4357638 h 5456343"/>
              <a:gd name="connsiteX238" fmla="*/ 5205636 w 5529990"/>
              <a:gd name="connsiteY238" fmla="*/ 4349000 h 5456343"/>
              <a:gd name="connsiteX239" fmla="*/ 5268226 w 5529990"/>
              <a:gd name="connsiteY239" fmla="*/ 4333885 h 5456343"/>
              <a:gd name="connsiteX240" fmla="*/ 5294126 w 5529990"/>
              <a:gd name="connsiteY240" fmla="*/ 4334964 h 5456343"/>
              <a:gd name="connsiteX241" fmla="*/ 5433338 w 5529990"/>
              <a:gd name="connsiteY241" fmla="*/ 4392189 h 5456343"/>
              <a:gd name="connsiteX242" fmla="*/ 5441971 w 5529990"/>
              <a:gd name="connsiteY242" fmla="*/ 4402986 h 5456343"/>
              <a:gd name="connsiteX243" fmla="*/ 5473266 w 5529990"/>
              <a:gd name="connsiteY243" fmla="*/ 4468847 h 5456343"/>
              <a:gd name="connsiteX244" fmla="*/ 5481899 w 5529990"/>
              <a:gd name="connsiteY244" fmla="*/ 4496919 h 5456343"/>
              <a:gd name="connsiteX245" fmla="*/ 5492691 w 5529990"/>
              <a:gd name="connsiteY245" fmla="*/ 4544426 h 5456343"/>
              <a:gd name="connsiteX246" fmla="*/ 5523987 w 5529990"/>
              <a:gd name="connsiteY246" fmla="*/ 4580056 h 5456343"/>
              <a:gd name="connsiteX247" fmla="*/ 5529787 w 5529990"/>
              <a:gd name="connsiteY247" fmla="*/ 4596252 h 5456343"/>
              <a:gd name="connsiteX248" fmla="*/ 5515353 w 5529990"/>
              <a:gd name="connsiteY248" fmla="*/ 4605969 h 5456343"/>
              <a:gd name="connsiteX249" fmla="*/ 5502403 w 5529990"/>
              <a:gd name="connsiteY249" fmla="*/ 4609208 h 5456343"/>
              <a:gd name="connsiteX250" fmla="*/ 5487295 w 5529990"/>
              <a:gd name="connsiteY250" fmla="*/ 4618925 h 5456343"/>
              <a:gd name="connsiteX251" fmla="*/ 5497008 w 5529990"/>
              <a:gd name="connsiteY251" fmla="*/ 4632961 h 5456343"/>
              <a:gd name="connsiteX252" fmla="*/ 5491612 w 5529990"/>
              <a:gd name="connsiteY252" fmla="*/ 4665352 h 5456343"/>
              <a:gd name="connsiteX253" fmla="*/ 5477583 w 5529990"/>
              <a:gd name="connsiteY253" fmla="*/ 4671830 h 5456343"/>
              <a:gd name="connsiteX254" fmla="*/ 5470029 w 5529990"/>
              <a:gd name="connsiteY254" fmla="*/ 4691265 h 5456343"/>
              <a:gd name="connsiteX255" fmla="*/ 5488374 w 5529990"/>
              <a:gd name="connsiteY255" fmla="*/ 4698823 h 5456343"/>
              <a:gd name="connsiteX256" fmla="*/ 5504696 w 5529990"/>
              <a:gd name="connsiteY256" fmla="*/ 4697004 h 5456343"/>
              <a:gd name="connsiteX257" fmla="*/ 5420769 w 5529990"/>
              <a:gd name="connsiteY257" fmla="*/ 4781392 h 5456343"/>
              <a:gd name="connsiteX258" fmla="*/ 5413913 w 5529990"/>
              <a:gd name="connsiteY258" fmla="*/ 4776562 h 5456343"/>
              <a:gd name="connsiteX259" fmla="*/ 5393409 w 5529990"/>
              <a:gd name="connsiteY259" fmla="*/ 4786279 h 5456343"/>
              <a:gd name="connsiteX260" fmla="*/ 5384776 w 5529990"/>
              <a:gd name="connsiteY260" fmla="*/ 4805713 h 5456343"/>
              <a:gd name="connsiteX261" fmla="*/ 5358876 w 5529990"/>
              <a:gd name="connsiteY261" fmla="*/ 4818670 h 5456343"/>
              <a:gd name="connsiteX262" fmla="*/ 5275781 w 5529990"/>
              <a:gd name="connsiteY262" fmla="*/ 4860778 h 5456343"/>
              <a:gd name="connsiteX263" fmla="*/ 5263910 w 5529990"/>
              <a:gd name="connsiteY263" fmla="*/ 4875894 h 5456343"/>
              <a:gd name="connsiteX264" fmla="*/ 5250960 w 5529990"/>
              <a:gd name="connsiteY264" fmla="*/ 4855379 h 5456343"/>
              <a:gd name="connsiteX265" fmla="*/ 5250960 w 5529990"/>
              <a:gd name="connsiteY265" fmla="*/ 4852140 h 5456343"/>
              <a:gd name="connsiteX266" fmla="*/ 5214269 w 5529990"/>
              <a:gd name="connsiteY266" fmla="*/ 4831626 h 5456343"/>
              <a:gd name="connsiteX267" fmla="*/ 5163548 w 5529990"/>
              <a:gd name="connsiteY267" fmla="*/ 4829467 h 5456343"/>
              <a:gd name="connsiteX268" fmla="*/ 5092324 w 5529990"/>
              <a:gd name="connsiteY268" fmla="*/ 4811112 h 5456343"/>
              <a:gd name="connsiteX269" fmla="*/ 5072899 w 5529990"/>
              <a:gd name="connsiteY269" fmla="*/ 4794916 h 5456343"/>
              <a:gd name="connsiteX270" fmla="*/ 5016783 w 5529990"/>
              <a:gd name="connsiteY270" fmla="*/ 4750649 h 5456343"/>
              <a:gd name="connsiteX271" fmla="*/ 5007071 w 5529990"/>
              <a:gd name="connsiteY271" fmla="*/ 4724736 h 5456343"/>
              <a:gd name="connsiteX272" fmla="*/ 4975775 w 5529990"/>
              <a:gd name="connsiteY272" fmla="*/ 4617845 h 5456343"/>
              <a:gd name="connsiteX273" fmla="*/ 4952034 w 5529990"/>
              <a:gd name="connsiteY273" fmla="*/ 4617845 h 5456343"/>
              <a:gd name="connsiteX274" fmla="*/ 4948796 w 5529990"/>
              <a:gd name="connsiteY274" fmla="*/ 4645918 h 5456343"/>
              <a:gd name="connsiteX275" fmla="*/ 4961746 w 5529990"/>
              <a:gd name="connsiteY275" fmla="*/ 4665352 h 5456343"/>
              <a:gd name="connsiteX276" fmla="*/ 4963904 w 5529990"/>
              <a:gd name="connsiteY276" fmla="*/ 4683708 h 5456343"/>
              <a:gd name="connsiteX277" fmla="*/ 4944480 w 5529990"/>
              <a:gd name="connsiteY277" fmla="*/ 4680468 h 5456343"/>
              <a:gd name="connsiteX278" fmla="*/ 4930451 w 5529990"/>
              <a:gd name="connsiteY278" fmla="*/ 4665352 h 5456343"/>
              <a:gd name="connsiteX279" fmla="*/ 4896997 w 5529990"/>
              <a:gd name="connsiteY279" fmla="*/ 4659954 h 5456343"/>
              <a:gd name="connsiteX280" fmla="*/ 4903472 w 5529990"/>
              <a:gd name="connsiteY280" fmla="*/ 4689106 h 5456343"/>
              <a:gd name="connsiteX281" fmla="*/ 4921817 w 5529990"/>
              <a:gd name="connsiteY281" fmla="*/ 4711780 h 5456343"/>
              <a:gd name="connsiteX282" fmla="*/ 4907788 w 5529990"/>
              <a:gd name="connsiteY282" fmla="*/ 4733374 h 5456343"/>
              <a:gd name="connsiteX283" fmla="*/ 4846276 w 5529990"/>
              <a:gd name="connsiteY283" fmla="*/ 4709620 h 5456343"/>
              <a:gd name="connsiteX284" fmla="*/ 4786923 w 5529990"/>
              <a:gd name="connsiteY284" fmla="*/ 4709620 h 5456343"/>
              <a:gd name="connsiteX285" fmla="*/ 4763181 w 5529990"/>
              <a:gd name="connsiteY285" fmla="*/ 4731214 h 5456343"/>
              <a:gd name="connsiteX286" fmla="*/ 4751311 w 5529990"/>
              <a:gd name="connsiteY286" fmla="*/ 4737692 h 5456343"/>
              <a:gd name="connsiteX287" fmla="*/ 4744836 w 5529990"/>
              <a:gd name="connsiteY287" fmla="*/ 4725816 h 5456343"/>
              <a:gd name="connsiteX288" fmla="*/ 4723252 w 5529990"/>
              <a:gd name="connsiteY288" fmla="*/ 4703142 h 5456343"/>
              <a:gd name="connsiteX289" fmla="*/ 4674690 w 5529990"/>
              <a:gd name="connsiteY289" fmla="*/ 4675069 h 5456343"/>
              <a:gd name="connsiteX290" fmla="*/ 4648790 w 5529990"/>
              <a:gd name="connsiteY290" fmla="*/ 4673990 h 5456343"/>
              <a:gd name="connsiteX291" fmla="*/ 4631524 w 5529990"/>
              <a:gd name="connsiteY291" fmla="*/ 4682628 h 5456343"/>
              <a:gd name="connsiteX292" fmla="*/ 4619653 w 5529990"/>
              <a:gd name="connsiteY292" fmla="*/ 4664272 h 5456343"/>
              <a:gd name="connsiteX293" fmla="*/ 4617495 w 5529990"/>
              <a:gd name="connsiteY293" fmla="*/ 4649157 h 5456343"/>
              <a:gd name="connsiteX294" fmla="*/ 4590179 w 5529990"/>
              <a:gd name="connsiteY294" fmla="*/ 4622282 h 5456343"/>
              <a:gd name="connsiteX295" fmla="*/ 4586817 w 5529990"/>
              <a:gd name="connsiteY295" fmla="*/ 4623974 h 5456343"/>
              <a:gd name="connsiteX296" fmla="*/ 4584630 w 5529990"/>
              <a:gd name="connsiteY296" fmla="*/ 4635875 h 5456343"/>
              <a:gd name="connsiteX297" fmla="*/ 4531541 w 5529990"/>
              <a:gd name="connsiteY297" fmla="*/ 4686274 h 5456343"/>
              <a:gd name="connsiteX298" fmla="*/ 4492463 w 5529990"/>
              <a:gd name="connsiteY298" fmla="*/ 4723091 h 5456343"/>
              <a:gd name="connsiteX299" fmla="*/ 4462206 w 5529990"/>
              <a:gd name="connsiteY299" fmla="*/ 4772694 h 5456343"/>
              <a:gd name="connsiteX300" fmla="*/ 4452007 w 5529990"/>
              <a:gd name="connsiteY300" fmla="*/ 4809481 h 5456343"/>
              <a:gd name="connsiteX301" fmla="*/ 4457827 w 5529990"/>
              <a:gd name="connsiteY301" fmla="*/ 4850751 h 5456343"/>
              <a:gd name="connsiteX302" fmla="*/ 4471025 w 5529990"/>
              <a:gd name="connsiteY302" fmla="*/ 4867775 h 5456343"/>
              <a:gd name="connsiteX303" fmla="*/ 4503311 w 5529990"/>
              <a:gd name="connsiteY303" fmla="*/ 4865104 h 5456343"/>
              <a:gd name="connsiteX304" fmla="*/ 4538327 w 5529990"/>
              <a:gd name="connsiteY304" fmla="*/ 4899014 h 5456343"/>
              <a:gd name="connsiteX305" fmla="*/ 4528782 w 5529990"/>
              <a:gd name="connsiteY305" fmla="*/ 4950009 h 5456343"/>
              <a:gd name="connsiteX306" fmla="*/ 4490855 w 5529990"/>
              <a:gd name="connsiteY306" fmla="*/ 4977760 h 5456343"/>
              <a:gd name="connsiteX307" fmla="*/ 4473436 w 5529990"/>
              <a:gd name="connsiteY307" fmla="*/ 4993981 h 5456343"/>
              <a:gd name="connsiteX308" fmla="*/ 4496877 w 5529990"/>
              <a:gd name="connsiteY308" fmla="*/ 5031953 h 5456343"/>
              <a:gd name="connsiteX309" fmla="*/ 4502473 w 5529990"/>
              <a:gd name="connsiteY309" fmla="*/ 5031433 h 5456343"/>
              <a:gd name="connsiteX310" fmla="*/ 4538301 w 5529990"/>
              <a:gd name="connsiteY310" fmla="*/ 5034738 h 5456343"/>
              <a:gd name="connsiteX311" fmla="*/ 4541751 w 5529990"/>
              <a:gd name="connsiteY311" fmla="*/ 5089834 h 5456343"/>
              <a:gd name="connsiteX312" fmla="*/ 4511743 w 5529990"/>
              <a:gd name="connsiteY312" fmla="*/ 5127799 h 5456343"/>
              <a:gd name="connsiteX313" fmla="*/ 4485820 w 5529990"/>
              <a:gd name="connsiteY313" fmla="*/ 5123905 h 5456343"/>
              <a:gd name="connsiteX314" fmla="*/ 4473208 w 5529990"/>
              <a:gd name="connsiteY314" fmla="*/ 5116782 h 5456343"/>
              <a:gd name="connsiteX315" fmla="*/ 4466980 w 5529990"/>
              <a:gd name="connsiteY315" fmla="*/ 5131962 h 5456343"/>
              <a:gd name="connsiteX316" fmla="*/ 4474335 w 5529990"/>
              <a:gd name="connsiteY316" fmla="*/ 5161144 h 5456343"/>
              <a:gd name="connsiteX317" fmla="*/ 4432436 w 5529990"/>
              <a:gd name="connsiteY317" fmla="*/ 5210502 h 5456343"/>
              <a:gd name="connsiteX318" fmla="*/ 4422080 w 5529990"/>
              <a:gd name="connsiteY318" fmla="*/ 5209806 h 5456343"/>
              <a:gd name="connsiteX319" fmla="*/ 4363328 w 5529990"/>
              <a:gd name="connsiteY319" fmla="*/ 5256417 h 5456343"/>
              <a:gd name="connsiteX320" fmla="*/ 4335441 w 5529990"/>
              <a:gd name="connsiteY320" fmla="*/ 5292194 h 5456343"/>
              <a:gd name="connsiteX321" fmla="*/ 4315316 w 5529990"/>
              <a:gd name="connsiteY321" fmla="*/ 5300702 h 5456343"/>
              <a:gd name="connsiteX322" fmla="*/ 4258458 w 5529990"/>
              <a:gd name="connsiteY322" fmla="*/ 5385631 h 5456343"/>
              <a:gd name="connsiteX323" fmla="*/ 4253222 w 5529990"/>
              <a:gd name="connsiteY323" fmla="*/ 5436557 h 5456343"/>
              <a:gd name="connsiteX324" fmla="*/ 4229825 w 5529990"/>
              <a:gd name="connsiteY324" fmla="*/ 5456320 h 5456343"/>
              <a:gd name="connsiteX325" fmla="*/ 4214822 w 5529990"/>
              <a:gd name="connsiteY325" fmla="*/ 5434155 h 5456343"/>
              <a:gd name="connsiteX326" fmla="*/ 4150160 w 5529990"/>
              <a:gd name="connsiteY326" fmla="*/ 5406321 h 5456343"/>
              <a:gd name="connsiteX327" fmla="*/ 4094026 w 5529990"/>
              <a:gd name="connsiteY327" fmla="*/ 5427469 h 5456343"/>
              <a:gd name="connsiteX328" fmla="*/ 4039855 w 5529990"/>
              <a:gd name="connsiteY328" fmla="*/ 5408946 h 5456343"/>
              <a:gd name="connsiteX329" fmla="*/ 3927948 w 5529990"/>
              <a:gd name="connsiteY329" fmla="*/ 5419353 h 5456343"/>
              <a:gd name="connsiteX330" fmla="*/ 3912268 w 5529990"/>
              <a:gd name="connsiteY330" fmla="*/ 5436408 h 5456343"/>
              <a:gd name="connsiteX331" fmla="*/ 3845463 w 5529990"/>
              <a:gd name="connsiteY331" fmla="*/ 5381894 h 5456343"/>
              <a:gd name="connsiteX332" fmla="*/ 3765729 w 5529990"/>
              <a:gd name="connsiteY332" fmla="*/ 5409883 h 5456343"/>
              <a:gd name="connsiteX333" fmla="*/ 3765910 w 5529990"/>
              <a:gd name="connsiteY333" fmla="*/ 5393938 h 5456343"/>
              <a:gd name="connsiteX334" fmla="*/ 3718780 w 5529990"/>
              <a:gd name="connsiteY334" fmla="*/ 5329630 h 5456343"/>
              <a:gd name="connsiteX335" fmla="*/ 3675462 w 5529990"/>
              <a:gd name="connsiteY335" fmla="*/ 5288528 h 5456343"/>
              <a:gd name="connsiteX336" fmla="*/ 3619984 w 5529990"/>
              <a:gd name="connsiteY336" fmla="*/ 5241589 h 5456343"/>
              <a:gd name="connsiteX337" fmla="*/ 3608747 w 5529990"/>
              <a:gd name="connsiteY337" fmla="*/ 5267190 h 5456343"/>
              <a:gd name="connsiteX338" fmla="*/ 3596563 w 5529990"/>
              <a:gd name="connsiteY338" fmla="*/ 5314780 h 5456343"/>
              <a:gd name="connsiteX339" fmla="*/ 3574430 w 5529990"/>
              <a:gd name="connsiteY339" fmla="*/ 5305224 h 5456343"/>
              <a:gd name="connsiteX340" fmla="*/ 3499909 w 5529990"/>
              <a:gd name="connsiteY340" fmla="*/ 5253419 h 5456343"/>
              <a:gd name="connsiteX341" fmla="*/ 3315692 w 5529990"/>
              <a:gd name="connsiteY341" fmla="*/ 5243008 h 5456343"/>
              <a:gd name="connsiteX342" fmla="*/ 3221835 w 5529990"/>
              <a:gd name="connsiteY342" fmla="*/ 5222534 h 5456343"/>
              <a:gd name="connsiteX343" fmla="*/ 3181652 w 5529990"/>
              <a:gd name="connsiteY343" fmla="*/ 5243858 h 5456343"/>
              <a:gd name="connsiteX344" fmla="*/ 3144425 w 5529990"/>
              <a:gd name="connsiteY344" fmla="*/ 5261258 h 5456343"/>
              <a:gd name="connsiteX345" fmla="*/ 3142147 w 5529990"/>
              <a:gd name="connsiteY345" fmla="*/ 5225963 h 5456343"/>
              <a:gd name="connsiteX346" fmla="*/ 3132063 w 5529990"/>
              <a:gd name="connsiteY346" fmla="*/ 5160201 h 5456343"/>
              <a:gd name="connsiteX347" fmla="*/ 2992209 w 5529990"/>
              <a:gd name="connsiteY347" fmla="*/ 4872894 h 5456343"/>
              <a:gd name="connsiteX348" fmla="*/ 2922382 w 5529990"/>
              <a:gd name="connsiteY348" fmla="*/ 4817997 h 5456343"/>
              <a:gd name="connsiteX349" fmla="*/ 2852371 w 5529990"/>
              <a:gd name="connsiteY349" fmla="*/ 4861342 h 5456343"/>
              <a:gd name="connsiteX350" fmla="*/ 2799055 w 5529990"/>
              <a:gd name="connsiteY350" fmla="*/ 4952246 h 5456343"/>
              <a:gd name="connsiteX351" fmla="*/ 2750389 w 5529990"/>
              <a:gd name="connsiteY351" fmla="*/ 4982323 h 5456343"/>
              <a:gd name="connsiteX352" fmla="*/ 2759166 w 5529990"/>
              <a:gd name="connsiteY352" fmla="*/ 4937373 h 5456343"/>
              <a:gd name="connsiteX353" fmla="*/ 2758717 w 5529990"/>
              <a:gd name="connsiteY353" fmla="*/ 4853791 h 5456343"/>
              <a:gd name="connsiteX354" fmla="*/ 2773428 w 5529990"/>
              <a:gd name="connsiteY354" fmla="*/ 4829858 h 5456343"/>
              <a:gd name="connsiteX355" fmla="*/ 2813611 w 5529990"/>
              <a:gd name="connsiteY355" fmla="*/ 4808534 h 5456343"/>
              <a:gd name="connsiteX356" fmla="*/ 2820922 w 5529990"/>
              <a:gd name="connsiteY356" fmla="*/ 4779980 h 5456343"/>
              <a:gd name="connsiteX357" fmla="*/ 2796668 w 5529990"/>
              <a:gd name="connsiteY357" fmla="*/ 4772612 h 5456343"/>
              <a:gd name="connsiteX358" fmla="*/ 2622107 w 5529990"/>
              <a:gd name="connsiteY358" fmla="*/ 4773249 h 5456343"/>
              <a:gd name="connsiteX359" fmla="*/ 2591932 w 5529990"/>
              <a:gd name="connsiteY359" fmla="*/ 4771776 h 5456343"/>
              <a:gd name="connsiteX360" fmla="*/ 2581363 w 5529990"/>
              <a:gd name="connsiteY360" fmla="*/ 4784316 h 5456343"/>
              <a:gd name="connsiteX361" fmla="*/ 2533973 w 5529990"/>
              <a:gd name="connsiteY361" fmla="*/ 4788867 h 5456343"/>
              <a:gd name="connsiteX362" fmla="*/ 2494641 w 5529990"/>
              <a:gd name="connsiteY362" fmla="*/ 4816770 h 5456343"/>
              <a:gd name="connsiteX363" fmla="*/ 2502607 w 5529990"/>
              <a:gd name="connsiteY363" fmla="*/ 4887605 h 5456343"/>
              <a:gd name="connsiteX364" fmla="*/ 2530777 w 5529990"/>
              <a:gd name="connsiteY364" fmla="*/ 5025291 h 5456343"/>
              <a:gd name="connsiteX365" fmla="*/ 2526229 w 5529990"/>
              <a:gd name="connsiteY365" fmla="*/ 5094470 h 5456343"/>
              <a:gd name="connsiteX366" fmla="*/ 2476444 w 5529990"/>
              <a:gd name="connsiteY366" fmla="*/ 5139834 h 5456343"/>
              <a:gd name="connsiteX367" fmla="*/ 2456379 w 5529990"/>
              <a:gd name="connsiteY367" fmla="*/ 5052626 h 5456343"/>
              <a:gd name="connsiteX368" fmla="*/ 2428893 w 5529990"/>
              <a:gd name="connsiteY368" fmla="*/ 4952213 h 5456343"/>
              <a:gd name="connsiteX369" fmla="*/ 2404842 w 5529990"/>
              <a:gd name="connsiteY369" fmla="*/ 4852765 h 5456343"/>
              <a:gd name="connsiteX370" fmla="*/ 2313953 w 5529990"/>
              <a:gd name="connsiteY370" fmla="*/ 4819852 h 5456343"/>
              <a:gd name="connsiteX371" fmla="*/ 2305700 w 5529990"/>
              <a:gd name="connsiteY371" fmla="*/ 4836077 h 5456343"/>
              <a:gd name="connsiteX372" fmla="*/ 2307760 w 5529990"/>
              <a:gd name="connsiteY372" fmla="*/ 4855197 h 5456343"/>
              <a:gd name="connsiteX373" fmla="*/ 2273652 w 5529990"/>
              <a:gd name="connsiteY373" fmla="*/ 4897541 h 5456343"/>
              <a:gd name="connsiteX374" fmla="*/ 2229651 w 5529990"/>
              <a:gd name="connsiteY374" fmla="*/ 4875929 h 5456343"/>
              <a:gd name="connsiteX375" fmla="*/ 2219754 w 5529990"/>
              <a:gd name="connsiteY375" fmla="*/ 4858320 h 5456343"/>
              <a:gd name="connsiteX376" fmla="*/ 2105490 w 5529990"/>
              <a:gd name="connsiteY376" fmla="*/ 4809581 h 5456343"/>
              <a:gd name="connsiteX377" fmla="*/ 2075923 w 5529990"/>
              <a:gd name="connsiteY377" fmla="*/ 4829098 h 5456343"/>
              <a:gd name="connsiteX378" fmla="*/ 1995879 w 5529990"/>
              <a:gd name="connsiteY378" fmla="*/ 4903056 h 5456343"/>
              <a:gd name="connsiteX379" fmla="*/ 1971127 w 5529990"/>
              <a:gd name="connsiteY379" fmla="*/ 4905382 h 5456343"/>
              <a:gd name="connsiteX380" fmla="*/ 1929602 w 5529990"/>
              <a:gd name="connsiteY380" fmla="*/ 4888172 h 5456343"/>
              <a:gd name="connsiteX381" fmla="*/ 1900724 w 5529990"/>
              <a:gd name="connsiteY381" fmla="*/ 4898612 h 5456343"/>
              <a:gd name="connsiteX382" fmla="*/ 1896871 w 5529990"/>
              <a:gd name="connsiteY382" fmla="*/ 4912363 h 5456343"/>
              <a:gd name="connsiteX383" fmla="*/ 1877068 w 5529990"/>
              <a:gd name="connsiteY383" fmla="*/ 4923495 h 5456343"/>
              <a:gd name="connsiteX384" fmla="*/ 1870333 w 5529990"/>
              <a:gd name="connsiteY384" fmla="*/ 4901212 h 5456343"/>
              <a:gd name="connsiteX385" fmla="*/ 1885608 w 5529990"/>
              <a:gd name="connsiteY385" fmla="*/ 4820209 h 5456343"/>
              <a:gd name="connsiteX386" fmla="*/ 1867872 w 5529990"/>
              <a:gd name="connsiteY386" fmla="*/ 4804109 h 5456343"/>
              <a:gd name="connsiteX387" fmla="*/ 1837342 w 5529990"/>
              <a:gd name="connsiteY387" fmla="*/ 4827064 h 5456343"/>
              <a:gd name="connsiteX388" fmla="*/ 1799662 w 5529990"/>
              <a:gd name="connsiteY388" fmla="*/ 4842451 h 5456343"/>
              <a:gd name="connsiteX389" fmla="*/ 1758003 w 5529990"/>
              <a:gd name="connsiteY389" fmla="*/ 4799247 h 5456343"/>
              <a:gd name="connsiteX390" fmla="*/ 1769692 w 5529990"/>
              <a:gd name="connsiteY390" fmla="*/ 4783984 h 5456343"/>
              <a:gd name="connsiteX391" fmla="*/ 1743295 w 5529990"/>
              <a:gd name="connsiteY391" fmla="*/ 4752477 h 5456343"/>
              <a:gd name="connsiteX392" fmla="*/ 1616518 w 5529990"/>
              <a:gd name="connsiteY392" fmla="*/ 4702082 h 5456343"/>
              <a:gd name="connsiteX393" fmla="*/ 1541847 w 5529990"/>
              <a:gd name="connsiteY393" fmla="*/ 4723780 h 5456343"/>
              <a:gd name="connsiteX394" fmla="*/ 1482305 w 5529990"/>
              <a:gd name="connsiteY394" fmla="*/ 4731179 h 5456343"/>
              <a:gd name="connsiteX395" fmla="*/ 1473783 w 5529990"/>
              <a:gd name="connsiteY395" fmla="*/ 4695417 h 5456343"/>
              <a:gd name="connsiteX396" fmla="*/ 1468846 w 5529990"/>
              <a:gd name="connsiteY396" fmla="*/ 4593913 h 5456343"/>
              <a:gd name="connsiteX397" fmla="*/ 1363940 w 5529990"/>
              <a:gd name="connsiteY397" fmla="*/ 4505154 h 5456343"/>
              <a:gd name="connsiteX398" fmla="*/ 1341662 w 5529990"/>
              <a:gd name="connsiteY398" fmla="*/ 4511882 h 5456343"/>
              <a:gd name="connsiteX399" fmla="*/ 1289128 w 5529990"/>
              <a:gd name="connsiteY399" fmla="*/ 4547206 h 5456343"/>
              <a:gd name="connsiteX400" fmla="*/ 1221480 w 5529990"/>
              <a:gd name="connsiteY400" fmla="*/ 4504127 h 5456343"/>
              <a:gd name="connsiteX401" fmla="*/ 1220530 w 5529990"/>
              <a:gd name="connsiteY401" fmla="*/ 4414866 h 5456343"/>
              <a:gd name="connsiteX402" fmla="*/ 1239097 w 5529990"/>
              <a:gd name="connsiteY402" fmla="*/ 4401534 h 5456343"/>
              <a:gd name="connsiteX403" fmla="*/ 1251750 w 5529990"/>
              <a:gd name="connsiteY403" fmla="*/ 4382834 h 5456343"/>
              <a:gd name="connsiteX404" fmla="*/ 1254504 w 5529990"/>
              <a:gd name="connsiteY404" fmla="*/ 4346526 h 5456343"/>
              <a:gd name="connsiteX405" fmla="*/ 1230581 w 5529990"/>
              <a:gd name="connsiteY405" fmla="*/ 4319421 h 5456343"/>
              <a:gd name="connsiteX406" fmla="*/ 1186758 w 5529990"/>
              <a:gd name="connsiteY406" fmla="*/ 4272364 h 5456343"/>
              <a:gd name="connsiteX407" fmla="*/ 1175214 w 5529990"/>
              <a:gd name="connsiteY407" fmla="*/ 4264939 h 5456343"/>
              <a:gd name="connsiteX408" fmla="*/ 1161833 w 5529990"/>
              <a:gd name="connsiteY408" fmla="*/ 4266023 h 5456343"/>
              <a:gd name="connsiteX409" fmla="*/ 1140837 w 5529990"/>
              <a:gd name="connsiteY409" fmla="*/ 4258967 h 5456343"/>
              <a:gd name="connsiteX410" fmla="*/ 1128185 w 5529990"/>
              <a:gd name="connsiteY410" fmla="*/ 4246273 h 5456343"/>
              <a:gd name="connsiteX411" fmla="*/ 1114189 w 5529990"/>
              <a:gd name="connsiteY411" fmla="*/ 4244360 h 5456343"/>
              <a:gd name="connsiteX412" fmla="*/ 1101745 w 5529990"/>
              <a:gd name="connsiteY412" fmla="*/ 4249907 h 5456343"/>
              <a:gd name="connsiteX413" fmla="*/ 1089334 w 5529990"/>
              <a:gd name="connsiteY413" fmla="*/ 4250366 h 5456343"/>
              <a:gd name="connsiteX414" fmla="*/ 1081819 w 5529990"/>
              <a:gd name="connsiteY414" fmla="*/ 4248119 h 5456343"/>
              <a:gd name="connsiteX415" fmla="*/ 1066120 w 5529990"/>
              <a:gd name="connsiteY415" fmla="*/ 4264125 h 5456343"/>
              <a:gd name="connsiteX416" fmla="*/ 1050323 w 5529990"/>
              <a:gd name="connsiteY416" fmla="*/ 4294755 h 5456343"/>
              <a:gd name="connsiteX417" fmla="*/ 983313 w 5529990"/>
              <a:gd name="connsiteY417" fmla="*/ 4357938 h 5456343"/>
              <a:gd name="connsiteX418" fmla="*/ 960346 w 5529990"/>
              <a:gd name="connsiteY418" fmla="*/ 4334969 h 5456343"/>
              <a:gd name="connsiteX419" fmla="*/ 1002467 w 5529990"/>
              <a:gd name="connsiteY419" fmla="*/ 4292849 h 5456343"/>
              <a:gd name="connsiteX420" fmla="*/ 1033100 w 5529990"/>
              <a:gd name="connsiteY420" fmla="*/ 4258387 h 5456343"/>
              <a:gd name="connsiteX421" fmla="*/ 998661 w 5529990"/>
              <a:gd name="connsiteY421" fmla="*/ 4158853 h 5456343"/>
              <a:gd name="connsiteX422" fmla="*/ 956556 w 5529990"/>
              <a:gd name="connsiteY422" fmla="*/ 4105261 h 5456343"/>
              <a:gd name="connsiteX423" fmla="*/ 904879 w 5529990"/>
              <a:gd name="connsiteY423" fmla="*/ 4057413 h 5456343"/>
              <a:gd name="connsiteX424" fmla="*/ 885736 w 5529990"/>
              <a:gd name="connsiteY424" fmla="*/ 4065073 h 5456343"/>
              <a:gd name="connsiteX425" fmla="*/ 818745 w 5529990"/>
              <a:gd name="connsiteY425" fmla="*/ 4013399 h 5456343"/>
              <a:gd name="connsiteX426" fmla="*/ 826409 w 5529990"/>
              <a:gd name="connsiteY426" fmla="*/ 3971284 h 5456343"/>
              <a:gd name="connsiteX427" fmla="*/ 870463 w 5529990"/>
              <a:gd name="connsiteY427" fmla="*/ 3816223 h 5456343"/>
              <a:gd name="connsiteX428" fmla="*/ 849420 w 5529990"/>
              <a:gd name="connsiteY428" fmla="*/ 3733913 h 5456343"/>
              <a:gd name="connsiteX429" fmla="*/ 837936 w 5529990"/>
              <a:gd name="connsiteY429" fmla="*/ 3722429 h 5456343"/>
              <a:gd name="connsiteX430" fmla="*/ 847517 w 5529990"/>
              <a:gd name="connsiteY430" fmla="*/ 3670743 h 5456343"/>
              <a:gd name="connsiteX431" fmla="*/ 871187 w 5529990"/>
              <a:gd name="connsiteY431" fmla="*/ 3654468 h 5456343"/>
              <a:gd name="connsiteX432" fmla="*/ 862921 w 5529990"/>
              <a:gd name="connsiteY432" fmla="*/ 3655033 h 5456343"/>
              <a:gd name="connsiteX433" fmla="*/ 865726 w 5529990"/>
              <a:gd name="connsiteY433" fmla="*/ 3649731 h 5456343"/>
              <a:gd name="connsiteX434" fmla="*/ 920326 w 5529990"/>
              <a:gd name="connsiteY434" fmla="*/ 3587177 h 5456343"/>
              <a:gd name="connsiteX435" fmla="*/ 925490 w 5529990"/>
              <a:gd name="connsiteY435" fmla="*/ 3584399 h 5456343"/>
              <a:gd name="connsiteX436" fmla="*/ 928649 w 5529990"/>
              <a:gd name="connsiteY436" fmla="*/ 3574777 h 5456343"/>
              <a:gd name="connsiteX437" fmla="*/ 925932 w 5529990"/>
              <a:gd name="connsiteY437" fmla="*/ 3550999 h 5456343"/>
              <a:gd name="connsiteX438" fmla="*/ 917654 w 5529990"/>
              <a:gd name="connsiteY438" fmla="*/ 3534979 h 5456343"/>
              <a:gd name="connsiteX439" fmla="*/ 912238 w 5529990"/>
              <a:gd name="connsiteY439" fmla="*/ 3534153 h 5456343"/>
              <a:gd name="connsiteX440" fmla="*/ 892558 w 5529990"/>
              <a:gd name="connsiteY440" fmla="*/ 3527474 h 5456343"/>
              <a:gd name="connsiteX441" fmla="*/ 830681 w 5529990"/>
              <a:gd name="connsiteY441" fmla="*/ 3510117 h 5456343"/>
              <a:gd name="connsiteX442" fmla="*/ 626610 w 5529990"/>
              <a:gd name="connsiteY442" fmla="*/ 3543722 h 5456343"/>
              <a:gd name="connsiteX443" fmla="*/ 581781 w 5529990"/>
              <a:gd name="connsiteY443" fmla="*/ 3551541 h 5456343"/>
              <a:gd name="connsiteX444" fmla="*/ 534885 w 5529990"/>
              <a:gd name="connsiteY444" fmla="*/ 3586592 h 5456343"/>
              <a:gd name="connsiteX445" fmla="*/ 508756 w 5529990"/>
              <a:gd name="connsiteY445" fmla="*/ 3607073 h 5456343"/>
              <a:gd name="connsiteX446" fmla="*/ 473000 w 5529990"/>
              <a:gd name="connsiteY446" fmla="*/ 3615583 h 5456343"/>
              <a:gd name="connsiteX447" fmla="*/ 451138 w 5529990"/>
              <a:gd name="connsiteY447" fmla="*/ 3607596 h 5456343"/>
              <a:gd name="connsiteX448" fmla="*/ 426615 w 5529990"/>
              <a:gd name="connsiteY448" fmla="*/ 3498773 h 5456343"/>
              <a:gd name="connsiteX449" fmla="*/ 434951 w 5529990"/>
              <a:gd name="connsiteY449" fmla="*/ 3478138 h 5456343"/>
              <a:gd name="connsiteX450" fmla="*/ 0 w 5529990"/>
              <a:gd name="connsiteY450" fmla="*/ 3478138 h 5456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</a:cxnLst>
            <a:rect l="l" t="t" r="r" b="b"/>
            <a:pathLst>
              <a:path w="5529990" h="5456343">
                <a:moveTo>
                  <a:pt x="5203477" y="4996820"/>
                </a:moveTo>
                <a:lnTo>
                  <a:pt x="5205385" y="4997961"/>
                </a:lnTo>
                <a:lnTo>
                  <a:pt x="5204062" y="4999290"/>
                </a:lnTo>
                <a:close/>
                <a:moveTo>
                  <a:pt x="3285288" y="850958"/>
                </a:moveTo>
                <a:lnTo>
                  <a:pt x="3285287" y="957889"/>
                </a:lnTo>
                <a:lnTo>
                  <a:pt x="3309883" y="964960"/>
                </a:lnTo>
                <a:lnTo>
                  <a:pt x="3342876" y="959101"/>
                </a:lnTo>
                <a:lnTo>
                  <a:pt x="3347625" y="953011"/>
                </a:lnTo>
                <a:cubicBezTo>
                  <a:pt x="3352506" y="941170"/>
                  <a:pt x="3345185" y="930079"/>
                  <a:pt x="3340340" y="917595"/>
                </a:cubicBezTo>
                <a:cubicBezTo>
                  <a:pt x="3332916" y="904388"/>
                  <a:pt x="3317655" y="892691"/>
                  <a:pt x="3323433" y="872062"/>
                </a:cubicBezTo>
                <a:cubicBezTo>
                  <a:pt x="3326596" y="867388"/>
                  <a:pt x="3321373" y="852944"/>
                  <a:pt x="3302259" y="854999"/>
                </a:cubicBezTo>
                <a:close/>
                <a:moveTo>
                  <a:pt x="97597" y="97597"/>
                </a:moveTo>
                <a:lnTo>
                  <a:pt x="97597" y="3380541"/>
                </a:lnTo>
                <a:lnTo>
                  <a:pt x="925476" y="3380541"/>
                </a:lnTo>
                <a:lnTo>
                  <a:pt x="946229" y="3355733"/>
                </a:lnTo>
                <a:cubicBezTo>
                  <a:pt x="955151" y="3350356"/>
                  <a:pt x="965808" y="3348710"/>
                  <a:pt x="978940" y="3351467"/>
                </a:cubicBezTo>
                <a:cubicBezTo>
                  <a:pt x="988016" y="3352158"/>
                  <a:pt x="997814" y="3350272"/>
                  <a:pt x="1007525" y="3349520"/>
                </a:cubicBezTo>
                <a:lnTo>
                  <a:pt x="1031564" y="3353683"/>
                </a:lnTo>
                <a:lnTo>
                  <a:pt x="1032954" y="3351929"/>
                </a:lnTo>
                <a:cubicBezTo>
                  <a:pt x="1041511" y="3336793"/>
                  <a:pt x="1046658" y="3321358"/>
                  <a:pt x="1046660" y="3307002"/>
                </a:cubicBezTo>
                <a:cubicBezTo>
                  <a:pt x="1046661" y="3298388"/>
                  <a:pt x="1047980" y="3291329"/>
                  <a:pt x="1050343" y="3285495"/>
                </a:cubicBezTo>
                <a:lnTo>
                  <a:pt x="1053485" y="3281034"/>
                </a:lnTo>
                <a:lnTo>
                  <a:pt x="213108" y="3281033"/>
                </a:lnTo>
                <a:lnTo>
                  <a:pt x="213107" y="208854"/>
                </a:lnTo>
                <a:lnTo>
                  <a:pt x="3285287" y="208854"/>
                </a:lnTo>
                <a:lnTo>
                  <a:pt x="3285287" y="805089"/>
                </a:lnTo>
                <a:lnTo>
                  <a:pt x="3285421" y="805084"/>
                </a:lnTo>
                <a:cubicBezTo>
                  <a:pt x="3294358" y="808749"/>
                  <a:pt x="3302058" y="816008"/>
                  <a:pt x="3308726" y="825294"/>
                </a:cubicBezTo>
                <a:cubicBezTo>
                  <a:pt x="3318349" y="837264"/>
                  <a:pt x="3328663" y="840157"/>
                  <a:pt x="3343101" y="834936"/>
                </a:cubicBezTo>
                <a:cubicBezTo>
                  <a:pt x="3347502" y="832463"/>
                  <a:pt x="3351903" y="829989"/>
                  <a:pt x="3357542" y="829717"/>
                </a:cubicBezTo>
                <a:lnTo>
                  <a:pt x="3389087" y="840123"/>
                </a:lnTo>
                <a:lnTo>
                  <a:pt x="3389087" y="97597"/>
                </a:lnTo>
                <a:close/>
                <a:moveTo>
                  <a:pt x="0" y="0"/>
                </a:moveTo>
                <a:lnTo>
                  <a:pt x="3486684" y="0"/>
                </a:lnTo>
                <a:lnTo>
                  <a:pt x="3486684" y="833838"/>
                </a:lnTo>
                <a:lnTo>
                  <a:pt x="3500172" y="834269"/>
                </a:lnTo>
                <a:cubicBezTo>
                  <a:pt x="3505844" y="834701"/>
                  <a:pt x="3511551" y="835838"/>
                  <a:pt x="3516226" y="839003"/>
                </a:cubicBezTo>
                <a:cubicBezTo>
                  <a:pt x="3558715" y="852776"/>
                  <a:pt x="3606019" y="849359"/>
                  <a:pt x="3647545" y="866570"/>
                </a:cubicBezTo>
                <a:cubicBezTo>
                  <a:pt x="3654421" y="868498"/>
                  <a:pt x="3662259" y="866989"/>
                  <a:pt x="3662947" y="857912"/>
                </a:cubicBezTo>
                <a:cubicBezTo>
                  <a:pt x="3663910" y="854475"/>
                  <a:pt x="3661435" y="850071"/>
                  <a:pt x="3656762" y="846906"/>
                </a:cubicBezTo>
                <a:cubicBezTo>
                  <a:pt x="3612486" y="819655"/>
                  <a:pt x="3566012" y="793639"/>
                  <a:pt x="3515960" y="787015"/>
                </a:cubicBezTo>
                <a:cubicBezTo>
                  <a:pt x="3500008" y="784394"/>
                  <a:pt x="3493133" y="782466"/>
                  <a:pt x="3489147" y="770223"/>
                </a:cubicBezTo>
                <a:cubicBezTo>
                  <a:pt x="3481723" y="757017"/>
                  <a:pt x="3488465" y="732951"/>
                  <a:pt x="3498229" y="724565"/>
                </a:cubicBezTo>
                <a:cubicBezTo>
                  <a:pt x="3504213" y="719755"/>
                  <a:pt x="3510881" y="717454"/>
                  <a:pt x="3516829" y="717732"/>
                </a:cubicBezTo>
                <a:cubicBezTo>
                  <a:pt x="3522775" y="718009"/>
                  <a:pt x="3528002" y="720865"/>
                  <a:pt x="3531095" y="726369"/>
                </a:cubicBezTo>
                <a:cubicBezTo>
                  <a:pt x="3540717" y="738339"/>
                  <a:pt x="3552408" y="723077"/>
                  <a:pt x="3557357" y="731881"/>
                </a:cubicBezTo>
                <a:cubicBezTo>
                  <a:pt x="3563543" y="742887"/>
                  <a:pt x="3573584" y="740141"/>
                  <a:pt x="3581695" y="744271"/>
                </a:cubicBezTo>
                <a:cubicBezTo>
                  <a:pt x="3610433" y="754187"/>
                  <a:pt x="3634771" y="766576"/>
                  <a:pt x="3651817" y="791752"/>
                </a:cubicBezTo>
                <a:cubicBezTo>
                  <a:pt x="3662955" y="811562"/>
                  <a:pt x="3687707" y="809235"/>
                  <a:pt x="3701043" y="827808"/>
                </a:cubicBezTo>
                <a:cubicBezTo>
                  <a:pt x="3718363" y="858625"/>
                  <a:pt x="3755903" y="863592"/>
                  <a:pt x="3778589" y="888498"/>
                </a:cubicBezTo>
                <a:cubicBezTo>
                  <a:pt x="3807187" y="918769"/>
                  <a:pt x="3843349" y="941890"/>
                  <a:pt x="3870983" y="975599"/>
                </a:cubicBezTo>
                <a:cubicBezTo>
                  <a:pt x="3881846" y="989770"/>
                  <a:pt x="3896558" y="990189"/>
                  <a:pt x="3913472" y="989372"/>
                </a:cubicBezTo>
                <a:cubicBezTo>
                  <a:pt x="3923511" y="986625"/>
                  <a:pt x="3936024" y="988282"/>
                  <a:pt x="3940973" y="997085"/>
                </a:cubicBezTo>
                <a:cubicBezTo>
                  <a:pt x="3948670" y="1015932"/>
                  <a:pt x="3967786" y="1013877"/>
                  <a:pt x="3982772" y="1019936"/>
                </a:cubicBezTo>
                <a:cubicBezTo>
                  <a:pt x="3978104" y="970422"/>
                  <a:pt x="3961198" y="924889"/>
                  <a:pt x="3937964" y="888706"/>
                </a:cubicBezTo>
                <a:cubicBezTo>
                  <a:pt x="3928065" y="871097"/>
                  <a:pt x="3912388" y="874116"/>
                  <a:pt x="3899601" y="866821"/>
                </a:cubicBezTo>
                <a:cubicBezTo>
                  <a:pt x="3878701" y="855396"/>
                  <a:pt x="3863440" y="843699"/>
                  <a:pt x="3853267" y="820451"/>
                </a:cubicBezTo>
                <a:cubicBezTo>
                  <a:pt x="3845844" y="807243"/>
                  <a:pt x="3839658" y="796238"/>
                  <a:pt x="3829759" y="778630"/>
                </a:cubicBezTo>
                <a:cubicBezTo>
                  <a:pt x="3856712" y="775065"/>
                  <a:pt x="3879951" y="764897"/>
                  <a:pt x="3899474" y="794477"/>
                </a:cubicBezTo>
                <a:cubicBezTo>
                  <a:pt x="3906898" y="807684"/>
                  <a:pt x="3932471" y="822274"/>
                  <a:pt x="3949113" y="815817"/>
                </a:cubicBezTo>
                <a:cubicBezTo>
                  <a:pt x="3967952" y="808123"/>
                  <a:pt x="3973176" y="822568"/>
                  <a:pt x="3979087" y="827934"/>
                </a:cubicBezTo>
                <a:cubicBezTo>
                  <a:pt x="3993387" y="843069"/>
                  <a:pt x="4011123" y="859169"/>
                  <a:pt x="4029548" y="866192"/>
                </a:cubicBezTo>
                <a:cubicBezTo>
                  <a:pt x="4051411" y="874180"/>
                  <a:pt x="4053745" y="898937"/>
                  <a:pt x="4074646" y="910362"/>
                </a:cubicBezTo>
                <a:cubicBezTo>
                  <a:pt x="4086196" y="915455"/>
                  <a:pt x="4092382" y="926461"/>
                  <a:pt x="4111496" y="924407"/>
                </a:cubicBezTo>
                <a:cubicBezTo>
                  <a:pt x="4136249" y="922079"/>
                  <a:pt x="4154948" y="934741"/>
                  <a:pt x="4161957" y="962664"/>
                </a:cubicBezTo>
                <a:cubicBezTo>
                  <a:pt x="4152192" y="971049"/>
                  <a:pt x="4137753" y="976269"/>
                  <a:pt x="4131426" y="985620"/>
                </a:cubicBezTo>
                <a:cubicBezTo>
                  <a:pt x="4125375" y="1000608"/>
                  <a:pt x="4126197" y="1017525"/>
                  <a:pt x="4134857" y="1032933"/>
                </a:cubicBezTo>
                <a:cubicBezTo>
                  <a:pt x="4141044" y="1043939"/>
                  <a:pt x="4129079" y="1053560"/>
                  <a:pt x="4138703" y="1065530"/>
                </a:cubicBezTo>
                <a:cubicBezTo>
                  <a:pt x="4144615" y="1070897"/>
                  <a:pt x="4125501" y="1072951"/>
                  <a:pt x="4128249" y="1082993"/>
                </a:cubicBezTo>
                <a:cubicBezTo>
                  <a:pt x="4129487" y="1085194"/>
                  <a:pt x="4140488" y="1079010"/>
                  <a:pt x="4147363" y="1080938"/>
                </a:cubicBezTo>
                <a:cubicBezTo>
                  <a:pt x="4155477" y="1085068"/>
                  <a:pt x="4161388" y="1090434"/>
                  <a:pt x="4170738" y="1096765"/>
                </a:cubicBezTo>
                <a:cubicBezTo>
                  <a:pt x="4179125" y="1106535"/>
                  <a:pt x="4178437" y="1115611"/>
                  <a:pt x="4166471" y="1125234"/>
                </a:cubicBezTo>
                <a:cubicBezTo>
                  <a:pt x="4141305" y="1142278"/>
                  <a:pt x="4137452" y="1156029"/>
                  <a:pt x="4151337" y="1185880"/>
                </a:cubicBezTo>
                <a:cubicBezTo>
                  <a:pt x="4156286" y="1194685"/>
                  <a:pt x="4142120" y="1205544"/>
                  <a:pt x="4159309" y="1210365"/>
                </a:cubicBezTo>
                <a:cubicBezTo>
                  <a:pt x="4185164" y="1184245"/>
                  <a:pt x="4187920" y="1147936"/>
                  <a:pt x="4205665" y="1117687"/>
                </a:cubicBezTo>
                <a:cubicBezTo>
                  <a:pt x="4208827" y="1113012"/>
                  <a:pt x="4208552" y="1107373"/>
                  <a:pt x="4209517" y="1103935"/>
                </a:cubicBezTo>
                <a:cubicBezTo>
                  <a:pt x="4213642" y="1095822"/>
                  <a:pt x="4218043" y="1093348"/>
                  <a:pt x="4224918" y="1095278"/>
                </a:cubicBezTo>
                <a:cubicBezTo>
                  <a:pt x="4229592" y="1098442"/>
                  <a:pt x="4232067" y="1102845"/>
                  <a:pt x="4232341" y="1108484"/>
                </a:cubicBezTo>
                <a:cubicBezTo>
                  <a:pt x="4224362" y="1130348"/>
                  <a:pt x="4221059" y="1155379"/>
                  <a:pt x="4211843" y="1175042"/>
                </a:cubicBezTo>
                <a:cubicBezTo>
                  <a:pt x="4198499" y="1202818"/>
                  <a:pt x="4213073" y="1223592"/>
                  <a:pt x="4227373" y="1238729"/>
                </a:cubicBezTo>
                <a:cubicBezTo>
                  <a:pt x="4239197" y="1249462"/>
                  <a:pt x="4252533" y="1268034"/>
                  <a:pt x="4277010" y="1260069"/>
                </a:cubicBezTo>
                <a:cubicBezTo>
                  <a:pt x="4289250" y="1256085"/>
                  <a:pt x="4305201" y="1258706"/>
                  <a:pt x="4319914" y="1259126"/>
                </a:cubicBezTo>
                <a:cubicBezTo>
                  <a:pt x="4360617" y="1259418"/>
                  <a:pt x="4386465" y="1279648"/>
                  <a:pt x="4394024" y="1318850"/>
                </a:cubicBezTo>
                <a:cubicBezTo>
                  <a:pt x="4400069" y="1350210"/>
                  <a:pt x="4407078" y="1378133"/>
                  <a:pt x="4439529" y="1394653"/>
                </a:cubicBezTo>
                <a:lnTo>
                  <a:pt x="4465896" y="1405900"/>
                </a:lnTo>
                <a:lnTo>
                  <a:pt x="4496792" y="1389917"/>
                </a:lnTo>
                <a:cubicBezTo>
                  <a:pt x="4507035" y="1380041"/>
                  <a:pt x="4514057" y="1366965"/>
                  <a:pt x="4517002" y="1350259"/>
                </a:cubicBezTo>
                <a:cubicBezTo>
                  <a:pt x="4520352" y="1326277"/>
                  <a:pt x="4525431" y="1307426"/>
                  <a:pt x="4543362" y="1292820"/>
                </a:cubicBezTo>
                <a:cubicBezTo>
                  <a:pt x="4551896" y="1284234"/>
                  <a:pt x="4562155" y="1280780"/>
                  <a:pt x="4573307" y="1288454"/>
                </a:cubicBezTo>
                <a:cubicBezTo>
                  <a:pt x="4582731" y="1290996"/>
                  <a:pt x="4586185" y="1301260"/>
                  <a:pt x="4586211" y="1309822"/>
                </a:cubicBezTo>
                <a:cubicBezTo>
                  <a:pt x="4585426" y="1332941"/>
                  <a:pt x="4578645" y="1355222"/>
                  <a:pt x="4565007" y="1374097"/>
                </a:cubicBezTo>
                <a:lnTo>
                  <a:pt x="4525037" y="1424592"/>
                </a:lnTo>
                <a:lnTo>
                  <a:pt x="4537809" y="1428478"/>
                </a:lnTo>
                <a:cubicBezTo>
                  <a:pt x="4547845" y="1431526"/>
                  <a:pt x="4558400" y="1433560"/>
                  <a:pt x="4570157" y="1431296"/>
                </a:cubicBezTo>
                <a:cubicBezTo>
                  <a:pt x="4577996" y="1429785"/>
                  <a:pt x="4581708" y="1436389"/>
                  <a:pt x="4584183" y="1440791"/>
                </a:cubicBezTo>
                <a:cubicBezTo>
                  <a:pt x="4602468" y="1468169"/>
                  <a:pt x="4606314" y="1500767"/>
                  <a:pt x="4615797" y="1533093"/>
                </a:cubicBezTo>
                <a:cubicBezTo>
                  <a:pt x="4619782" y="1545335"/>
                  <a:pt x="4624319" y="1557269"/>
                  <a:pt x="4630077" y="1568154"/>
                </a:cubicBezTo>
                <a:lnTo>
                  <a:pt x="4642622" y="1584865"/>
                </a:lnTo>
                <a:lnTo>
                  <a:pt x="4650392" y="1585335"/>
                </a:lnTo>
                <a:cubicBezTo>
                  <a:pt x="4669212" y="1581857"/>
                  <a:pt x="4687170" y="1575812"/>
                  <a:pt x="4706855" y="1574900"/>
                </a:cubicBezTo>
                <a:cubicBezTo>
                  <a:pt x="4719693" y="1574864"/>
                  <a:pt x="4728693" y="1578264"/>
                  <a:pt x="4733741" y="1584777"/>
                </a:cubicBezTo>
                <a:lnTo>
                  <a:pt x="4735707" y="1602394"/>
                </a:lnTo>
                <a:lnTo>
                  <a:pt x="4744256" y="1600647"/>
                </a:lnTo>
                <a:cubicBezTo>
                  <a:pt x="4756082" y="1599792"/>
                  <a:pt x="4768286" y="1600897"/>
                  <a:pt x="4780936" y="1605372"/>
                </a:cubicBezTo>
                <a:cubicBezTo>
                  <a:pt x="4801836" y="1616799"/>
                  <a:pt x="4810496" y="1632206"/>
                  <a:pt x="4803756" y="1656271"/>
                </a:cubicBezTo>
                <a:cubicBezTo>
                  <a:pt x="4798940" y="1673462"/>
                  <a:pt x="4788212" y="1685285"/>
                  <a:pt x="4782161" y="1700274"/>
                </a:cubicBezTo>
                <a:cubicBezTo>
                  <a:pt x="4772256" y="1729014"/>
                  <a:pt x="4768951" y="1754045"/>
                  <a:pt x="4785999" y="1779221"/>
                </a:cubicBezTo>
                <a:cubicBezTo>
                  <a:pt x="4790949" y="1788026"/>
                  <a:pt x="4795899" y="1796830"/>
                  <a:pt x="4800847" y="1805635"/>
                </a:cubicBezTo>
                <a:lnTo>
                  <a:pt x="4804501" y="1810637"/>
                </a:lnTo>
                <a:lnTo>
                  <a:pt x="4845375" y="1808249"/>
                </a:lnTo>
                <a:cubicBezTo>
                  <a:pt x="4846894" y="1814880"/>
                  <a:pt x="4846053" y="1820341"/>
                  <a:pt x="4843969" y="1825149"/>
                </a:cubicBezTo>
                <a:lnTo>
                  <a:pt x="4843929" y="1825206"/>
                </a:lnTo>
                <a:lnTo>
                  <a:pt x="4852839" y="1826013"/>
                </a:lnTo>
                <a:cubicBezTo>
                  <a:pt x="4859010" y="1827976"/>
                  <a:pt x="4865335" y="1830215"/>
                  <a:pt x="4872074" y="1829323"/>
                </a:cubicBezTo>
                <a:cubicBezTo>
                  <a:pt x="4896826" y="1826996"/>
                  <a:pt x="4915835" y="1840208"/>
                  <a:pt x="4925096" y="1859262"/>
                </a:cubicBezTo>
                <a:lnTo>
                  <a:pt x="4929808" y="1883858"/>
                </a:lnTo>
                <a:lnTo>
                  <a:pt x="4939343" y="1886966"/>
                </a:lnTo>
                <a:cubicBezTo>
                  <a:pt x="4956041" y="1888844"/>
                  <a:pt x="4973154" y="1886656"/>
                  <a:pt x="4991962" y="1878897"/>
                </a:cubicBezTo>
                <a:cubicBezTo>
                  <a:pt x="4996228" y="1874604"/>
                  <a:pt x="4999657" y="1876306"/>
                  <a:pt x="5003950" y="1880575"/>
                </a:cubicBezTo>
                <a:cubicBezTo>
                  <a:pt x="4998008" y="1896860"/>
                  <a:pt x="4979187" y="1900338"/>
                  <a:pt x="4972381" y="1914056"/>
                </a:cubicBezTo>
                <a:cubicBezTo>
                  <a:pt x="4973245" y="1916623"/>
                  <a:pt x="4974108" y="1919188"/>
                  <a:pt x="4975836" y="1924321"/>
                </a:cubicBezTo>
                <a:cubicBezTo>
                  <a:pt x="4991365" y="1964091"/>
                  <a:pt x="5011707" y="2003846"/>
                  <a:pt x="5015575" y="2048343"/>
                </a:cubicBezTo>
                <a:lnTo>
                  <a:pt x="5014612" y="2066816"/>
                </a:lnTo>
                <a:lnTo>
                  <a:pt x="5068869" y="2055795"/>
                </a:lnTo>
                <a:cubicBezTo>
                  <a:pt x="5091061" y="2050200"/>
                  <a:pt x="5113097" y="2044332"/>
                  <a:pt x="5135512" y="2040422"/>
                </a:cubicBezTo>
                <a:cubicBezTo>
                  <a:pt x="5151189" y="2037403"/>
                  <a:pt x="5165629" y="2032183"/>
                  <a:pt x="5180616" y="2038241"/>
                </a:cubicBezTo>
                <a:cubicBezTo>
                  <a:pt x="5192167" y="2043336"/>
                  <a:pt x="5207843" y="2040317"/>
                  <a:pt x="5204265" y="2059708"/>
                </a:cubicBezTo>
                <a:cubicBezTo>
                  <a:pt x="5201375" y="2070022"/>
                  <a:pt x="5212238" y="2084193"/>
                  <a:pt x="5192160" y="2089685"/>
                </a:cubicBezTo>
                <a:cubicBezTo>
                  <a:pt x="5176483" y="2092704"/>
                  <a:pt x="5169194" y="2105491"/>
                  <a:pt x="5148842" y="2105345"/>
                </a:cubicBezTo>
                <a:cubicBezTo>
                  <a:pt x="5131928" y="2106163"/>
                  <a:pt x="5112124" y="2117294"/>
                  <a:pt x="5101673" y="2134757"/>
                </a:cubicBezTo>
                <a:cubicBezTo>
                  <a:pt x="5093145" y="2145342"/>
                  <a:pt x="5085032" y="2141214"/>
                  <a:pt x="5078431" y="2144923"/>
                </a:cubicBezTo>
                <a:cubicBezTo>
                  <a:pt x="5069011" y="2148770"/>
                  <a:pt x="5060726" y="2146910"/>
                  <a:pt x="5052563" y="2144620"/>
                </a:cubicBezTo>
                <a:lnTo>
                  <a:pt x="5037286" y="2142869"/>
                </a:lnTo>
                <a:lnTo>
                  <a:pt x="5039213" y="2146539"/>
                </a:lnTo>
                <a:cubicBezTo>
                  <a:pt x="5039657" y="2152103"/>
                  <a:pt x="5037321" y="2157888"/>
                  <a:pt x="5030489" y="2163045"/>
                </a:cubicBezTo>
                <a:lnTo>
                  <a:pt x="5028179" y="2165369"/>
                </a:lnTo>
                <a:lnTo>
                  <a:pt x="5046078" y="2171076"/>
                </a:lnTo>
                <a:cubicBezTo>
                  <a:pt x="5062408" y="2175655"/>
                  <a:pt x="5078495" y="2181095"/>
                  <a:pt x="5093139" y="2191692"/>
                </a:cubicBezTo>
                <a:cubicBezTo>
                  <a:pt x="5104687" y="2196786"/>
                  <a:pt x="5118438" y="2200643"/>
                  <a:pt x="5123662" y="2215086"/>
                </a:cubicBezTo>
                <a:cubicBezTo>
                  <a:pt x="5122699" y="2218526"/>
                  <a:pt x="5125173" y="2222928"/>
                  <a:pt x="5128611" y="2223892"/>
                </a:cubicBezTo>
                <a:cubicBezTo>
                  <a:pt x="5186634" y="2255001"/>
                  <a:pt x="5200927" y="2316485"/>
                  <a:pt x="5228422" y="2370550"/>
                </a:cubicBezTo>
                <a:cubicBezTo>
                  <a:pt x="5229660" y="2372750"/>
                  <a:pt x="5226497" y="2377426"/>
                  <a:pt x="5228697" y="2376188"/>
                </a:cubicBezTo>
                <a:cubicBezTo>
                  <a:pt x="5262110" y="2389270"/>
                  <a:pt x="5261555" y="2424342"/>
                  <a:pt x="5262652" y="2446897"/>
                </a:cubicBezTo>
                <a:cubicBezTo>
                  <a:pt x="5266498" y="2479496"/>
                  <a:pt x="5284508" y="2501235"/>
                  <a:pt x="5299355" y="2527647"/>
                </a:cubicBezTo>
                <a:cubicBezTo>
                  <a:pt x="5308015" y="2543057"/>
                  <a:pt x="5331804" y="2544168"/>
                  <a:pt x="5348719" y="2543349"/>
                </a:cubicBezTo>
                <a:cubicBezTo>
                  <a:pt x="5367833" y="2541295"/>
                  <a:pt x="5381583" y="2545151"/>
                  <a:pt x="5393408" y="2555885"/>
                </a:cubicBezTo>
                <a:cubicBezTo>
                  <a:pt x="5398083" y="2559051"/>
                  <a:pt x="5402759" y="2562217"/>
                  <a:pt x="5407160" y="2559743"/>
                </a:cubicBezTo>
                <a:cubicBezTo>
                  <a:pt x="5427651" y="2539534"/>
                  <a:pt x="5449372" y="2567875"/>
                  <a:pt x="5472613" y="2557709"/>
                </a:cubicBezTo>
                <a:cubicBezTo>
                  <a:pt x="5480452" y="2556199"/>
                  <a:pt x="5484437" y="2568442"/>
                  <a:pt x="5485949" y="2576283"/>
                </a:cubicBezTo>
                <a:cubicBezTo>
                  <a:pt x="5490899" y="2585087"/>
                  <a:pt x="5473985" y="2585904"/>
                  <a:pt x="5476734" y="2595946"/>
                </a:cubicBezTo>
                <a:cubicBezTo>
                  <a:pt x="5480171" y="2596910"/>
                  <a:pt x="5485810" y="2596637"/>
                  <a:pt x="5490484" y="2599804"/>
                </a:cubicBezTo>
                <a:cubicBezTo>
                  <a:pt x="5498596" y="2603933"/>
                  <a:pt x="5516473" y="2599677"/>
                  <a:pt x="5519497" y="2615358"/>
                </a:cubicBezTo>
                <a:cubicBezTo>
                  <a:pt x="5524719" y="2629801"/>
                  <a:pt x="5531179" y="2646446"/>
                  <a:pt x="5529803" y="2664600"/>
                </a:cubicBezTo>
                <a:cubicBezTo>
                  <a:pt x="5526223" y="2683991"/>
                  <a:pt x="5519210" y="2702418"/>
                  <a:pt x="5499679" y="2719188"/>
                </a:cubicBezTo>
                <a:cubicBezTo>
                  <a:pt x="5486478" y="2726609"/>
                  <a:pt x="5473551" y="2739669"/>
                  <a:pt x="5457599" y="2737049"/>
                </a:cubicBezTo>
                <a:cubicBezTo>
                  <a:pt x="5433810" y="2735938"/>
                  <a:pt x="5409747" y="2729188"/>
                  <a:pt x="5390773" y="2710887"/>
                </a:cubicBezTo>
                <a:cubicBezTo>
                  <a:pt x="5384860" y="2705521"/>
                  <a:pt x="5381149" y="2698917"/>
                  <a:pt x="5381838" y="2689840"/>
                </a:cubicBezTo>
                <a:cubicBezTo>
                  <a:pt x="5383215" y="2671686"/>
                  <a:pt x="5382393" y="2654769"/>
                  <a:pt x="5381571" y="2637851"/>
                </a:cubicBezTo>
                <a:cubicBezTo>
                  <a:pt x="5351870" y="2631374"/>
                  <a:pt x="5320930" y="2622696"/>
                  <a:pt x="5289992" y="2614017"/>
                </a:cubicBezTo>
                <a:cubicBezTo>
                  <a:pt x="5269225" y="2628586"/>
                  <a:pt x="5265923" y="2653616"/>
                  <a:pt x="5259180" y="2677681"/>
                </a:cubicBezTo>
                <a:cubicBezTo>
                  <a:pt x="5249549" y="2712061"/>
                  <a:pt x="5246794" y="2748370"/>
                  <a:pt x="5222176" y="2776691"/>
                </a:cubicBezTo>
                <a:cubicBezTo>
                  <a:pt x="5215850" y="2786040"/>
                  <a:pt x="5213235" y="2801994"/>
                  <a:pt x="5205122" y="2797863"/>
                </a:cubicBezTo>
                <a:cubicBezTo>
                  <a:pt x="5187934" y="2793042"/>
                  <a:pt x="5176517" y="2813942"/>
                  <a:pt x="5159054" y="2803482"/>
                </a:cubicBezTo>
                <a:cubicBezTo>
                  <a:pt x="5150942" y="2799352"/>
                  <a:pt x="5140903" y="2802098"/>
                  <a:pt x="5134992" y="2796732"/>
                </a:cubicBezTo>
                <a:cubicBezTo>
                  <a:pt x="5107905" y="2774301"/>
                  <a:pt x="5067476" y="2779647"/>
                  <a:pt x="5042589" y="2755979"/>
                </a:cubicBezTo>
                <a:cubicBezTo>
                  <a:pt x="5036678" y="2750613"/>
                  <a:pt x="5026914" y="2758998"/>
                  <a:pt x="5027187" y="2764637"/>
                </a:cubicBezTo>
                <a:cubicBezTo>
                  <a:pt x="5035159" y="2789122"/>
                  <a:pt x="5021269" y="2805621"/>
                  <a:pt x="5017692" y="2825011"/>
                </a:cubicBezTo>
                <a:cubicBezTo>
                  <a:pt x="4982901" y="2830084"/>
                  <a:pt x="4955814" y="2807653"/>
                  <a:pt x="4929276" y="2796501"/>
                </a:cubicBezTo>
                <a:cubicBezTo>
                  <a:pt x="4919925" y="2790170"/>
                  <a:pt x="4909613" y="2787277"/>
                  <a:pt x="4898064" y="2782184"/>
                </a:cubicBezTo>
                <a:cubicBezTo>
                  <a:pt x="4894625" y="2781219"/>
                  <a:pt x="4888987" y="2781492"/>
                  <a:pt x="4888987" y="2781492"/>
                </a:cubicBezTo>
                <a:cubicBezTo>
                  <a:pt x="4879083" y="2810233"/>
                  <a:pt x="4837143" y="2807738"/>
                  <a:pt x="4828476" y="2838679"/>
                </a:cubicBezTo>
                <a:cubicBezTo>
                  <a:pt x="4811828" y="2891486"/>
                  <a:pt x="4812096" y="2943474"/>
                  <a:pt x="4792012" y="2995316"/>
                </a:cubicBezTo>
                <a:cubicBezTo>
                  <a:pt x="4786923" y="3006867"/>
                  <a:pt x="4794346" y="3020074"/>
                  <a:pt x="4799984" y="3019801"/>
                </a:cubicBezTo>
                <a:cubicBezTo>
                  <a:pt x="4825285" y="3028753"/>
                  <a:pt x="4824181" y="3052545"/>
                  <a:pt x="4837243" y="3065480"/>
                </a:cubicBezTo>
                <a:cubicBezTo>
                  <a:pt x="4842191" y="3074285"/>
                  <a:pt x="4842467" y="3079925"/>
                  <a:pt x="4841777" y="3089001"/>
                </a:cubicBezTo>
                <a:cubicBezTo>
                  <a:pt x="4825820" y="3132731"/>
                  <a:pt x="4836815" y="3172896"/>
                  <a:pt x="4860050" y="3209077"/>
                </a:cubicBezTo>
                <a:cubicBezTo>
                  <a:pt x="4862524" y="3213480"/>
                  <a:pt x="4865000" y="3217883"/>
                  <a:pt x="4861834" y="3222557"/>
                </a:cubicBezTo>
                <a:cubicBezTo>
                  <a:pt x="4838321" y="3227085"/>
                  <a:pt x="4828147" y="3203838"/>
                  <a:pt x="4816322" y="3193104"/>
                </a:cubicBezTo>
                <a:cubicBezTo>
                  <a:pt x="4783050" y="3159668"/>
                  <a:pt x="4742214" y="3133380"/>
                  <a:pt x="4699177" y="3108328"/>
                </a:cubicBezTo>
                <a:cubicBezTo>
                  <a:pt x="4679514" y="3099106"/>
                  <a:pt x="4661363" y="3097722"/>
                  <a:pt x="4644723" y="3104179"/>
                </a:cubicBezTo>
                <a:cubicBezTo>
                  <a:pt x="4599204" y="3121076"/>
                  <a:pt x="4562347" y="3153380"/>
                  <a:pt x="4540752" y="3197380"/>
                </a:cubicBezTo>
                <a:cubicBezTo>
                  <a:pt x="4532225" y="3207968"/>
                  <a:pt x="4535796" y="3234927"/>
                  <a:pt x="4544184" y="3244695"/>
                </a:cubicBezTo>
                <a:cubicBezTo>
                  <a:pt x="4592028" y="3298906"/>
                  <a:pt x="4594503" y="3303308"/>
                  <a:pt x="4596283" y="3363136"/>
                </a:cubicBezTo>
                <a:cubicBezTo>
                  <a:pt x="4597106" y="3380055"/>
                  <a:pt x="4603291" y="3391060"/>
                  <a:pt x="4610716" y="3404267"/>
                </a:cubicBezTo>
                <a:cubicBezTo>
                  <a:pt x="4654021" y="3481307"/>
                  <a:pt x="4697325" y="3558345"/>
                  <a:pt x="4739666" y="3638823"/>
                </a:cubicBezTo>
                <a:cubicBezTo>
                  <a:pt x="4750801" y="3658634"/>
                  <a:pt x="4773902" y="3668822"/>
                  <a:pt x="4782837" y="3689868"/>
                </a:cubicBezTo>
                <a:cubicBezTo>
                  <a:pt x="4791772" y="3710916"/>
                  <a:pt x="4803871" y="3727288"/>
                  <a:pt x="4815006" y="3747099"/>
                </a:cubicBezTo>
                <a:cubicBezTo>
                  <a:pt x="4818719" y="3753702"/>
                  <a:pt x="4826556" y="3752193"/>
                  <a:pt x="4829032" y="3756594"/>
                </a:cubicBezTo>
                <a:cubicBezTo>
                  <a:pt x="4836180" y="3764162"/>
                  <a:pt x="4846768" y="3772694"/>
                  <a:pt x="4837004" y="3781080"/>
                </a:cubicBezTo>
                <a:cubicBezTo>
                  <a:pt x="4828475" y="3791666"/>
                  <a:pt x="4815689" y="3784371"/>
                  <a:pt x="4809775" y="3779005"/>
                </a:cubicBezTo>
                <a:cubicBezTo>
                  <a:pt x="4802627" y="3771436"/>
                  <a:pt x="4789838" y="3764142"/>
                  <a:pt x="4786128" y="3757537"/>
                </a:cubicBezTo>
                <a:cubicBezTo>
                  <a:pt x="4771969" y="3722048"/>
                  <a:pt x="4740482" y="3702091"/>
                  <a:pt x="4725360" y="3670038"/>
                </a:cubicBezTo>
                <a:cubicBezTo>
                  <a:pt x="4680818" y="3590797"/>
                  <a:pt x="4637514" y="3513757"/>
                  <a:pt x="4594209" y="3436718"/>
                </a:cubicBezTo>
                <a:cubicBezTo>
                  <a:pt x="4585548" y="3421310"/>
                  <a:pt x="4572760" y="3414015"/>
                  <a:pt x="4558738" y="3404519"/>
                </a:cubicBezTo>
                <a:cubicBezTo>
                  <a:pt x="4522573" y="3381395"/>
                  <a:pt x="4488614" y="3357037"/>
                  <a:pt x="4480507" y="3306558"/>
                </a:cubicBezTo>
                <a:cubicBezTo>
                  <a:pt x="4475839" y="3257043"/>
                  <a:pt x="4421110" y="3247252"/>
                  <a:pt x="4381231" y="3263877"/>
                </a:cubicBezTo>
                <a:cubicBezTo>
                  <a:pt x="4343551" y="3279265"/>
                  <a:pt x="4308620" y="3304692"/>
                  <a:pt x="4271213" y="3325719"/>
                </a:cubicBezTo>
                <a:cubicBezTo>
                  <a:pt x="4260211" y="3331903"/>
                  <a:pt x="4245217" y="3372193"/>
                  <a:pt x="4243839" y="3390348"/>
                </a:cubicBezTo>
                <a:cubicBezTo>
                  <a:pt x="4241706" y="3404582"/>
                  <a:pt x="4243492" y="3418061"/>
                  <a:pt x="4245828" y="3431231"/>
                </a:cubicBezTo>
                <a:lnTo>
                  <a:pt x="4249487" y="3458234"/>
                </a:lnTo>
                <a:lnTo>
                  <a:pt x="4268459" y="3485180"/>
                </a:lnTo>
                <a:cubicBezTo>
                  <a:pt x="4281443" y="3505708"/>
                  <a:pt x="4292876" y="3526961"/>
                  <a:pt x="4301641" y="3549872"/>
                </a:cubicBezTo>
                <a:cubicBezTo>
                  <a:pt x="4307055" y="3565296"/>
                  <a:pt x="4316508" y="3563422"/>
                  <a:pt x="4327699" y="3562381"/>
                </a:cubicBezTo>
                <a:cubicBezTo>
                  <a:pt x="4364295" y="3559642"/>
                  <a:pt x="4401792" y="3559473"/>
                  <a:pt x="4443283" y="3566565"/>
                </a:cubicBezTo>
                <a:cubicBezTo>
                  <a:pt x="4417314" y="3587231"/>
                  <a:pt x="4389789" y="3591118"/>
                  <a:pt x="4362331" y="3599313"/>
                </a:cubicBezTo>
                <a:cubicBezTo>
                  <a:pt x="4304843" y="3616605"/>
                  <a:pt x="4286341" y="3646200"/>
                  <a:pt x="4297508" y="3698587"/>
                </a:cubicBezTo>
                <a:cubicBezTo>
                  <a:pt x="4301772" y="3723079"/>
                  <a:pt x="4314000" y="3733224"/>
                  <a:pt x="4338953" y="3730240"/>
                </a:cubicBezTo>
                <a:cubicBezTo>
                  <a:pt x="4350144" y="3729199"/>
                  <a:pt x="4360432" y="3725588"/>
                  <a:pt x="4372142" y="3730140"/>
                </a:cubicBezTo>
                <a:cubicBezTo>
                  <a:pt x="4367268" y="3749176"/>
                  <a:pt x="4350550" y="3755045"/>
                  <a:pt x="4336403" y="3760011"/>
                </a:cubicBezTo>
                <a:cubicBezTo>
                  <a:pt x="4320971" y="3765428"/>
                  <a:pt x="4319369" y="3773209"/>
                  <a:pt x="4322595" y="3786514"/>
                </a:cubicBezTo>
                <a:cubicBezTo>
                  <a:pt x="4332656" y="3823408"/>
                  <a:pt x="4355894" y="3848458"/>
                  <a:pt x="4384277" y="3871702"/>
                </a:cubicBezTo>
                <a:cubicBezTo>
                  <a:pt x="4400431" y="3884800"/>
                  <a:pt x="4418322" y="3898733"/>
                  <a:pt x="4434476" y="3911831"/>
                </a:cubicBezTo>
                <a:cubicBezTo>
                  <a:pt x="4459384" y="3933408"/>
                  <a:pt x="4474454" y="3959880"/>
                  <a:pt x="4475830" y="3992604"/>
                </a:cubicBezTo>
                <a:cubicBezTo>
                  <a:pt x="4478491" y="4024877"/>
                  <a:pt x="4491171" y="4036308"/>
                  <a:pt x="4523073" y="4036659"/>
                </a:cubicBezTo>
                <a:cubicBezTo>
                  <a:pt x="4527382" y="4036590"/>
                  <a:pt x="4531241" y="4035236"/>
                  <a:pt x="4538122" y="4034264"/>
                </a:cubicBezTo>
                <a:cubicBezTo>
                  <a:pt x="4533767" y="4058894"/>
                  <a:pt x="4515830" y="4069521"/>
                  <a:pt x="4501368" y="4081817"/>
                </a:cubicBezTo>
                <a:cubicBezTo>
                  <a:pt x="4483498" y="4096752"/>
                  <a:pt x="4472127" y="4113738"/>
                  <a:pt x="4473367" y="4137847"/>
                </a:cubicBezTo>
                <a:cubicBezTo>
                  <a:pt x="4472351" y="4155528"/>
                  <a:pt x="4478984" y="4166194"/>
                  <a:pt x="4497959" y="4166752"/>
                </a:cubicBezTo>
                <a:cubicBezTo>
                  <a:pt x="4518219" y="4166859"/>
                  <a:pt x="4532952" y="4171794"/>
                  <a:pt x="4539336" y="4194097"/>
                </a:cubicBezTo>
                <a:cubicBezTo>
                  <a:pt x="4546556" y="4214663"/>
                  <a:pt x="4532026" y="4222651"/>
                  <a:pt x="4517947" y="4231925"/>
                </a:cubicBezTo>
                <a:cubicBezTo>
                  <a:pt x="4513254" y="4235016"/>
                  <a:pt x="4504252" y="4238176"/>
                  <a:pt x="4508696" y="4246722"/>
                </a:cubicBezTo>
                <a:cubicBezTo>
                  <a:pt x="4512306" y="4257005"/>
                  <a:pt x="4521511" y="4266768"/>
                  <a:pt x="4532701" y="4265727"/>
                </a:cubicBezTo>
                <a:cubicBezTo>
                  <a:pt x="4563701" y="4263508"/>
                  <a:pt x="4567446" y="4282407"/>
                  <a:pt x="4569138" y="4307801"/>
                </a:cubicBezTo>
                <a:lnTo>
                  <a:pt x="4581251" y="4356204"/>
                </a:lnTo>
                <a:lnTo>
                  <a:pt x="4581479" y="4355344"/>
                </a:lnTo>
                <a:cubicBezTo>
                  <a:pt x="4582962" y="4353590"/>
                  <a:pt x="4585120" y="4352240"/>
                  <a:pt x="4587279" y="4351160"/>
                </a:cubicBezTo>
                <a:cubicBezTo>
                  <a:pt x="4608862" y="4339284"/>
                  <a:pt x="4626128" y="4319848"/>
                  <a:pt x="4644474" y="4303653"/>
                </a:cubicBezTo>
                <a:cubicBezTo>
                  <a:pt x="4672532" y="4278820"/>
                  <a:pt x="4703828" y="4264784"/>
                  <a:pt x="4741598" y="4274501"/>
                </a:cubicBezTo>
                <a:cubicBezTo>
                  <a:pt x="4756706" y="4277740"/>
                  <a:pt x="4766419" y="4269103"/>
                  <a:pt x="4775052" y="4260465"/>
                </a:cubicBezTo>
                <a:cubicBezTo>
                  <a:pt x="4795556" y="4241031"/>
                  <a:pt x="4806348" y="4242110"/>
                  <a:pt x="4822535" y="4263704"/>
                </a:cubicBezTo>
                <a:cubicBezTo>
                  <a:pt x="4838722" y="4287458"/>
                  <a:pt x="4838722" y="4287458"/>
                  <a:pt x="4862464" y="4268023"/>
                </a:cubicBezTo>
                <a:cubicBezTo>
                  <a:pt x="4867859" y="4263704"/>
                  <a:pt x="4872176" y="4260465"/>
                  <a:pt x="4878651" y="4266943"/>
                </a:cubicBezTo>
                <a:cubicBezTo>
                  <a:pt x="4903472" y="4288537"/>
                  <a:pt x="4928292" y="4307972"/>
                  <a:pt x="4952034" y="4330645"/>
                </a:cubicBezTo>
                <a:cubicBezTo>
                  <a:pt x="4970379" y="4346841"/>
                  <a:pt x="4982250" y="4367356"/>
                  <a:pt x="4987646" y="4391109"/>
                </a:cubicBezTo>
                <a:cubicBezTo>
                  <a:pt x="4991963" y="4406225"/>
                  <a:pt x="5030812" y="4435377"/>
                  <a:pt x="5046999" y="4436456"/>
                </a:cubicBezTo>
                <a:cubicBezTo>
                  <a:pt x="5052395" y="4436456"/>
                  <a:pt x="5056712" y="4436456"/>
                  <a:pt x="5058870" y="4429978"/>
                </a:cubicBezTo>
                <a:cubicBezTo>
                  <a:pt x="5073978" y="4396508"/>
                  <a:pt x="5103116" y="4380312"/>
                  <a:pt x="5134411" y="4366276"/>
                </a:cubicBezTo>
                <a:cubicBezTo>
                  <a:pt x="5140886" y="4363037"/>
                  <a:pt x="5146282" y="4360877"/>
                  <a:pt x="5151678" y="4357638"/>
                </a:cubicBezTo>
                <a:cubicBezTo>
                  <a:pt x="5168944" y="4346841"/>
                  <a:pt x="5184052" y="4341442"/>
                  <a:pt x="5205636" y="4349000"/>
                </a:cubicBezTo>
                <a:cubicBezTo>
                  <a:pt x="5227219" y="4356559"/>
                  <a:pt x="5248802" y="4344681"/>
                  <a:pt x="5268226" y="4333885"/>
                </a:cubicBezTo>
                <a:cubicBezTo>
                  <a:pt x="5277939" y="4329566"/>
                  <a:pt x="5284414" y="4327406"/>
                  <a:pt x="5294126" y="4334964"/>
                </a:cubicBezTo>
                <a:cubicBezTo>
                  <a:pt x="5335134" y="4365196"/>
                  <a:pt x="5380459" y="4387870"/>
                  <a:pt x="5433338" y="4392189"/>
                </a:cubicBezTo>
                <a:cubicBezTo>
                  <a:pt x="5440892" y="4393268"/>
                  <a:pt x="5444129" y="4395428"/>
                  <a:pt x="5441971" y="4402986"/>
                </a:cubicBezTo>
                <a:cubicBezTo>
                  <a:pt x="5435496" y="4433217"/>
                  <a:pt x="5451683" y="4452652"/>
                  <a:pt x="5473266" y="4468847"/>
                </a:cubicBezTo>
                <a:cubicBezTo>
                  <a:pt x="5482979" y="4476405"/>
                  <a:pt x="5488374" y="4482883"/>
                  <a:pt x="5481899" y="4496919"/>
                </a:cubicBezTo>
                <a:cubicBezTo>
                  <a:pt x="5472187" y="4514195"/>
                  <a:pt x="5480820" y="4530390"/>
                  <a:pt x="5492691" y="4544426"/>
                </a:cubicBezTo>
                <a:cubicBezTo>
                  <a:pt x="5502403" y="4556303"/>
                  <a:pt x="5514274" y="4568179"/>
                  <a:pt x="5523987" y="4580056"/>
                </a:cubicBezTo>
                <a:cubicBezTo>
                  <a:pt x="5528303" y="4585994"/>
                  <a:pt x="5530731" y="4591663"/>
                  <a:pt x="5529787" y="4596252"/>
                </a:cubicBezTo>
                <a:cubicBezTo>
                  <a:pt x="5528843" y="4600841"/>
                  <a:pt x="5524527" y="4604349"/>
                  <a:pt x="5515353" y="4605969"/>
                </a:cubicBezTo>
                <a:cubicBezTo>
                  <a:pt x="5511037" y="4605969"/>
                  <a:pt x="5506720" y="4607049"/>
                  <a:pt x="5502403" y="4609208"/>
                </a:cubicBezTo>
                <a:cubicBezTo>
                  <a:pt x="5497008" y="4611367"/>
                  <a:pt x="5488374" y="4611367"/>
                  <a:pt x="5487295" y="4618925"/>
                </a:cubicBezTo>
                <a:cubicBezTo>
                  <a:pt x="5487295" y="4625403"/>
                  <a:pt x="5492691" y="4629722"/>
                  <a:pt x="5497008" y="4632961"/>
                </a:cubicBezTo>
                <a:cubicBezTo>
                  <a:pt x="5515353" y="4649157"/>
                  <a:pt x="5514274" y="4655635"/>
                  <a:pt x="5491612" y="4665352"/>
                </a:cubicBezTo>
                <a:cubicBezTo>
                  <a:pt x="5486216" y="4667512"/>
                  <a:pt x="5481899" y="4668591"/>
                  <a:pt x="5477583" y="4671830"/>
                </a:cubicBezTo>
                <a:cubicBezTo>
                  <a:pt x="5471108" y="4676149"/>
                  <a:pt x="5465712" y="4680468"/>
                  <a:pt x="5470029" y="4691265"/>
                </a:cubicBezTo>
                <a:cubicBezTo>
                  <a:pt x="5475424" y="4700983"/>
                  <a:pt x="5479741" y="4700983"/>
                  <a:pt x="5488374" y="4698823"/>
                </a:cubicBezTo>
                <a:lnTo>
                  <a:pt x="5504696" y="4697004"/>
                </a:lnTo>
                <a:lnTo>
                  <a:pt x="5420769" y="4781392"/>
                </a:lnTo>
                <a:lnTo>
                  <a:pt x="5413913" y="4776562"/>
                </a:lnTo>
                <a:cubicBezTo>
                  <a:pt x="5404200" y="4774402"/>
                  <a:pt x="5397726" y="4777641"/>
                  <a:pt x="5393409" y="4786279"/>
                </a:cubicBezTo>
                <a:cubicBezTo>
                  <a:pt x="5390171" y="4792757"/>
                  <a:pt x="5388013" y="4799235"/>
                  <a:pt x="5384776" y="4805713"/>
                </a:cubicBezTo>
                <a:cubicBezTo>
                  <a:pt x="5379380" y="4816510"/>
                  <a:pt x="5371826" y="4820829"/>
                  <a:pt x="5358876" y="4818670"/>
                </a:cubicBezTo>
                <a:cubicBezTo>
                  <a:pt x="5320026" y="4812192"/>
                  <a:pt x="5293047" y="4826228"/>
                  <a:pt x="5275781" y="4860778"/>
                </a:cubicBezTo>
                <a:cubicBezTo>
                  <a:pt x="5272543" y="4866176"/>
                  <a:pt x="5273622" y="4878053"/>
                  <a:pt x="5263910" y="4875894"/>
                </a:cubicBezTo>
                <a:cubicBezTo>
                  <a:pt x="5254197" y="4874814"/>
                  <a:pt x="5252039" y="4865097"/>
                  <a:pt x="5250960" y="4855379"/>
                </a:cubicBezTo>
                <a:cubicBezTo>
                  <a:pt x="5250960" y="4854300"/>
                  <a:pt x="5250960" y="4853220"/>
                  <a:pt x="5250960" y="4852140"/>
                </a:cubicBezTo>
                <a:cubicBezTo>
                  <a:pt x="5246643" y="4826228"/>
                  <a:pt x="5234772" y="4818670"/>
                  <a:pt x="5214269" y="4831626"/>
                </a:cubicBezTo>
                <a:cubicBezTo>
                  <a:pt x="5194844" y="4843503"/>
                  <a:pt x="5179736" y="4840264"/>
                  <a:pt x="5163548" y="4829467"/>
                </a:cubicBezTo>
                <a:cubicBezTo>
                  <a:pt x="5141965" y="4815431"/>
                  <a:pt x="5119303" y="4804634"/>
                  <a:pt x="5092324" y="4811112"/>
                </a:cubicBezTo>
                <a:cubicBezTo>
                  <a:pt x="5080453" y="4814351"/>
                  <a:pt x="5075057" y="4802474"/>
                  <a:pt x="5072899" y="4794916"/>
                </a:cubicBezTo>
                <a:cubicBezTo>
                  <a:pt x="5063187" y="4766844"/>
                  <a:pt x="5044841" y="4753888"/>
                  <a:pt x="5016783" y="4750649"/>
                </a:cubicBezTo>
                <a:cubicBezTo>
                  <a:pt x="4999517" y="4748489"/>
                  <a:pt x="4996279" y="4742011"/>
                  <a:pt x="5007071" y="4724736"/>
                </a:cubicBezTo>
                <a:cubicBezTo>
                  <a:pt x="5029733" y="4688026"/>
                  <a:pt x="5013546" y="4634041"/>
                  <a:pt x="4975775" y="4617845"/>
                </a:cubicBezTo>
                <a:cubicBezTo>
                  <a:pt x="4968221" y="4614606"/>
                  <a:pt x="4958509" y="4610288"/>
                  <a:pt x="4952034" y="4617845"/>
                </a:cubicBezTo>
                <a:cubicBezTo>
                  <a:pt x="4945559" y="4625403"/>
                  <a:pt x="4942321" y="4636200"/>
                  <a:pt x="4948796" y="4645918"/>
                </a:cubicBezTo>
                <a:cubicBezTo>
                  <a:pt x="4952034" y="4652396"/>
                  <a:pt x="4957430" y="4658874"/>
                  <a:pt x="4961746" y="4665352"/>
                </a:cubicBezTo>
                <a:cubicBezTo>
                  <a:pt x="4967142" y="4671830"/>
                  <a:pt x="4970379" y="4678309"/>
                  <a:pt x="4963904" y="4683708"/>
                </a:cubicBezTo>
                <a:cubicBezTo>
                  <a:pt x="4956350" y="4690186"/>
                  <a:pt x="4949875" y="4685867"/>
                  <a:pt x="4944480" y="4680468"/>
                </a:cubicBezTo>
                <a:cubicBezTo>
                  <a:pt x="4939084" y="4676149"/>
                  <a:pt x="4934767" y="4669671"/>
                  <a:pt x="4930451" y="4665352"/>
                </a:cubicBezTo>
                <a:cubicBezTo>
                  <a:pt x="4920738" y="4655635"/>
                  <a:pt x="4907788" y="4650236"/>
                  <a:pt x="4896997" y="4659954"/>
                </a:cubicBezTo>
                <a:cubicBezTo>
                  <a:pt x="4888363" y="4668591"/>
                  <a:pt x="4896997" y="4680468"/>
                  <a:pt x="4903472" y="4689106"/>
                </a:cubicBezTo>
                <a:cubicBezTo>
                  <a:pt x="4908867" y="4696664"/>
                  <a:pt x="4918580" y="4702062"/>
                  <a:pt x="4921817" y="4711780"/>
                </a:cubicBezTo>
                <a:cubicBezTo>
                  <a:pt x="4927213" y="4725816"/>
                  <a:pt x="4925055" y="4734453"/>
                  <a:pt x="4907788" y="4733374"/>
                </a:cubicBezTo>
                <a:cubicBezTo>
                  <a:pt x="4884047" y="4732294"/>
                  <a:pt x="4864622" y="4722577"/>
                  <a:pt x="4846276" y="4709620"/>
                </a:cubicBezTo>
                <a:cubicBezTo>
                  <a:pt x="4822535" y="4693425"/>
                  <a:pt x="4809585" y="4692345"/>
                  <a:pt x="4786923" y="4709620"/>
                </a:cubicBezTo>
                <a:cubicBezTo>
                  <a:pt x="4778290" y="4715019"/>
                  <a:pt x="4770736" y="4723656"/>
                  <a:pt x="4763181" y="4731214"/>
                </a:cubicBezTo>
                <a:cubicBezTo>
                  <a:pt x="4759944" y="4734453"/>
                  <a:pt x="4756706" y="4739852"/>
                  <a:pt x="4751311" y="4737692"/>
                </a:cubicBezTo>
                <a:cubicBezTo>
                  <a:pt x="4744836" y="4735533"/>
                  <a:pt x="4743756" y="4730135"/>
                  <a:pt x="4744836" y="4725816"/>
                </a:cubicBezTo>
                <a:cubicBezTo>
                  <a:pt x="4749152" y="4706381"/>
                  <a:pt x="4740519" y="4702062"/>
                  <a:pt x="4723252" y="4703142"/>
                </a:cubicBezTo>
                <a:cubicBezTo>
                  <a:pt x="4701669" y="4704222"/>
                  <a:pt x="4686561" y="4690186"/>
                  <a:pt x="4674690" y="4675069"/>
                </a:cubicBezTo>
                <a:cubicBezTo>
                  <a:pt x="4664978" y="4663193"/>
                  <a:pt x="4657424" y="4662113"/>
                  <a:pt x="4648790" y="4673990"/>
                </a:cubicBezTo>
                <a:cubicBezTo>
                  <a:pt x="4644474" y="4680468"/>
                  <a:pt x="4640157" y="4684787"/>
                  <a:pt x="4631524" y="4682628"/>
                </a:cubicBezTo>
                <a:cubicBezTo>
                  <a:pt x="4619653" y="4680468"/>
                  <a:pt x="4621811" y="4671830"/>
                  <a:pt x="4619653" y="4664272"/>
                </a:cubicBezTo>
                <a:cubicBezTo>
                  <a:pt x="4618574" y="4659954"/>
                  <a:pt x="4618574" y="4654555"/>
                  <a:pt x="4617495" y="4649157"/>
                </a:cubicBezTo>
                <a:cubicBezTo>
                  <a:pt x="4615067" y="4627293"/>
                  <a:pt x="4605354" y="4618183"/>
                  <a:pt x="4590179" y="4622282"/>
                </a:cubicBezTo>
                <a:lnTo>
                  <a:pt x="4586817" y="4623974"/>
                </a:lnTo>
                <a:lnTo>
                  <a:pt x="4584630" y="4635875"/>
                </a:lnTo>
                <a:cubicBezTo>
                  <a:pt x="4576236" y="4677803"/>
                  <a:pt x="4574566" y="4681277"/>
                  <a:pt x="4531541" y="4686274"/>
                </a:cubicBezTo>
                <a:cubicBezTo>
                  <a:pt x="4507873" y="4688806"/>
                  <a:pt x="4494629" y="4696343"/>
                  <a:pt x="4492463" y="4723091"/>
                </a:cubicBezTo>
                <a:cubicBezTo>
                  <a:pt x="4490612" y="4742510"/>
                  <a:pt x="4481880" y="4762900"/>
                  <a:pt x="4462206" y="4772694"/>
                </a:cubicBezTo>
                <a:cubicBezTo>
                  <a:pt x="4443818" y="4782036"/>
                  <a:pt x="4447044" y="4795342"/>
                  <a:pt x="4452007" y="4809481"/>
                </a:cubicBezTo>
                <a:cubicBezTo>
                  <a:pt x="4456970" y="4823620"/>
                  <a:pt x="4462768" y="4836023"/>
                  <a:pt x="4457827" y="4850751"/>
                </a:cubicBezTo>
                <a:cubicBezTo>
                  <a:pt x="4454555" y="4862006"/>
                  <a:pt x="4463241" y="4866176"/>
                  <a:pt x="4471025" y="4867775"/>
                </a:cubicBezTo>
                <a:cubicBezTo>
                  <a:pt x="4482667" y="4868020"/>
                  <a:pt x="4492572" y="4867431"/>
                  <a:pt x="4503311" y="4865104"/>
                </a:cubicBezTo>
                <a:cubicBezTo>
                  <a:pt x="4539907" y="4862365"/>
                  <a:pt x="4542095" y="4864484"/>
                  <a:pt x="4538327" y="4899014"/>
                </a:cubicBezTo>
                <a:cubicBezTo>
                  <a:pt x="4537311" y="4916696"/>
                  <a:pt x="4531535" y="4933161"/>
                  <a:pt x="4528782" y="4950009"/>
                </a:cubicBezTo>
                <a:cubicBezTo>
                  <a:pt x="4524359" y="4970331"/>
                  <a:pt x="4519936" y="4990652"/>
                  <a:pt x="4490855" y="4977760"/>
                </a:cubicBezTo>
                <a:cubicBezTo>
                  <a:pt x="4480882" y="4974042"/>
                  <a:pt x="4471948" y="4981510"/>
                  <a:pt x="4473436" y="4993981"/>
                </a:cubicBezTo>
                <a:cubicBezTo>
                  <a:pt x="4474542" y="5009475"/>
                  <a:pt x="4474812" y="5026705"/>
                  <a:pt x="4496877" y="5031953"/>
                </a:cubicBezTo>
                <a:cubicBezTo>
                  <a:pt x="4498163" y="5031502"/>
                  <a:pt x="4499449" y="5031051"/>
                  <a:pt x="4502473" y="5031433"/>
                </a:cubicBezTo>
                <a:cubicBezTo>
                  <a:pt x="4514114" y="5031678"/>
                  <a:pt x="4528961" y="5016360"/>
                  <a:pt x="4538301" y="5034738"/>
                </a:cubicBezTo>
                <a:cubicBezTo>
                  <a:pt x="4547190" y="5051831"/>
                  <a:pt x="4547911" y="5070346"/>
                  <a:pt x="4541751" y="5089834"/>
                </a:cubicBezTo>
                <a:cubicBezTo>
                  <a:pt x="4535524" y="5105014"/>
                  <a:pt x="4524085" y="5117692"/>
                  <a:pt x="4511743" y="5127799"/>
                </a:cubicBezTo>
                <a:cubicBezTo>
                  <a:pt x="4501522" y="5135718"/>
                  <a:pt x="4492520" y="5138878"/>
                  <a:pt x="4485820" y="5123905"/>
                </a:cubicBezTo>
                <a:cubicBezTo>
                  <a:pt x="4482729" y="5119215"/>
                  <a:pt x="4478352" y="5114976"/>
                  <a:pt x="4473208" y="5116782"/>
                </a:cubicBezTo>
                <a:cubicBezTo>
                  <a:pt x="4464206" y="5119942"/>
                  <a:pt x="4465175" y="5126821"/>
                  <a:pt x="4466980" y="5131962"/>
                </a:cubicBezTo>
                <a:cubicBezTo>
                  <a:pt x="4469304" y="5142697"/>
                  <a:pt x="4472462" y="5151694"/>
                  <a:pt x="4474335" y="5161144"/>
                </a:cubicBezTo>
                <a:cubicBezTo>
                  <a:pt x="4481306" y="5193347"/>
                  <a:pt x="4464790" y="5212139"/>
                  <a:pt x="4432436" y="5210502"/>
                </a:cubicBezTo>
                <a:cubicBezTo>
                  <a:pt x="4428127" y="5210571"/>
                  <a:pt x="4425104" y="5210188"/>
                  <a:pt x="4422080" y="5209806"/>
                </a:cubicBezTo>
                <a:cubicBezTo>
                  <a:pt x="4373257" y="5202400"/>
                  <a:pt x="4367278" y="5205942"/>
                  <a:pt x="4363328" y="5256417"/>
                </a:cubicBezTo>
                <a:cubicBezTo>
                  <a:pt x="4361478" y="5275836"/>
                  <a:pt x="4355634" y="5287993"/>
                  <a:pt x="4335441" y="5292194"/>
                </a:cubicBezTo>
                <a:cubicBezTo>
                  <a:pt x="4327273" y="5293617"/>
                  <a:pt x="4321294" y="5297160"/>
                  <a:pt x="4315316" y="5300702"/>
                </a:cubicBezTo>
                <a:cubicBezTo>
                  <a:pt x="4277186" y="5315531"/>
                  <a:pt x="4252570" y="5340053"/>
                  <a:pt x="4258458" y="5385631"/>
                </a:cubicBezTo>
                <a:cubicBezTo>
                  <a:pt x="4260014" y="5402410"/>
                  <a:pt x="4258998" y="5420092"/>
                  <a:pt x="4253222" y="5436557"/>
                </a:cubicBezTo>
                <a:cubicBezTo>
                  <a:pt x="4249950" y="5447812"/>
                  <a:pt x="4241467" y="5456565"/>
                  <a:pt x="4229825" y="5456320"/>
                </a:cubicBezTo>
                <a:cubicBezTo>
                  <a:pt x="4215611" y="5456978"/>
                  <a:pt x="4216694" y="5443604"/>
                  <a:pt x="4214822" y="5434155"/>
                </a:cubicBezTo>
                <a:cubicBezTo>
                  <a:pt x="4200113" y="5375792"/>
                  <a:pt x="4200113" y="5375792"/>
                  <a:pt x="4150160" y="5406321"/>
                </a:cubicBezTo>
                <a:cubicBezTo>
                  <a:pt x="4132223" y="5416948"/>
                  <a:pt x="4114670" y="5424554"/>
                  <a:pt x="4094026" y="5427469"/>
                </a:cubicBezTo>
                <a:cubicBezTo>
                  <a:pt x="4072931" y="5429099"/>
                  <a:pt x="4056144" y="5430660"/>
                  <a:pt x="4039855" y="5408946"/>
                </a:cubicBezTo>
                <a:cubicBezTo>
                  <a:pt x="4014812" y="5378755"/>
                  <a:pt x="3962333" y="5385626"/>
                  <a:pt x="3927948" y="5419353"/>
                </a:cubicBezTo>
                <a:cubicBezTo>
                  <a:pt x="3922421" y="5424181"/>
                  <a:pt x="3918630" y="5429843"/>
                  <a:pt x="3912268" y="5436408"/>
                </a:cubicBezTo>
                <a:cubicBezTo>
                  <a:pt x="3896746" y="5408649"/>
                  <a:pt x="3879554" y="5384365"/>
                  <a:pt x="3845463" y="5381894"/>
                </a:cubicBezTo>
                <a:cubicBezTo>
                  <a:pt x="3814396" y="5379805"/>
                  <a:pt x="3790931" y="5395261"/>
                  <a:pt x="3765729" y="5409883"/>
                </a:cubicBezTo>
                <a:cubicBezTo>
                  <a:pt x="3760450" y="5403073"/>
                  <a:pt x="3764691" y="5398697"/>
                  <a:pt x="3765910" y="5393938"/>
                </a:cubicBezTo>
                <a:cubicBezTo>
                  <a:pt x="3781704" y="5356630"/>
                  <a:pt x="3760136" y="5328107"/>
                  <a:pt x="3718780" y="5329630"/>
                </a:cubicBezTo>
                <a:cubicBezTo>
                  <a:pt x="3676138" y="5331605"/>
                  <a:pt x="3676138" y="5331605"/>
                  <a:pt x="3675462" y="5288528"/>
                </a:cubicBezTo>
                <a:cubicBezTo>
                  <a:pt x="3674989" y="5258375"/>
                  <a:pt x="3649630" y="5235514"/>
                  <a:pt x="3619984" y="5241589"/>
                </a:cubicBezTo>
                <a:cubicBezTo>
                  <a:pt x="3604935" y="5243984"/>
                  <a:pt x="3608161" y="5257289"/>
                  <a:pt x="3608747" y="5267190"/>
                </a:cubicBezTo>
                <a:cubicBezTo>
                  <a:pt x="3610304" y="5283969"/>
                  <a:pt x="3614048" y="5302867"/>
                  <a:pt x="3596563" y="5314780"/>
                </a:cubicBezTo>
                <a:cubicBezTo>
                  <a:pt x="3584605" y="5321866"/>
                  <a:pt x="3576054" y="5326311"/>
                  <a:pt x="3574430" y="5305224"/>
                </a:cubicBezTo>
                <a:cubicBezTo>
                  <a:pt x="3568858" y="5252317"/>
                  <a:pt x="3550132" y="5240121"/>
                  <a:pt x="3499909" y="5253419"/>
                </a:cubicBezTo>
                <a:cubicBezTo>
                  <a:pt x="3436375" y="5269946"/>
                  <a:pt x="3375977" y="5266603"/>
                  <a:pt x="3315692" y="5243008"/>
                </a:cubicBezTo>
                <a:cubicBezTo>
                  <a:pt x="3285324" y="5230567"/>
                  <a:pt x="3255024" y="5222434"/>
                  <a:pt x="3221835" y="5222534"/>
                </a:cubicBezTo>
                <a:cubicBezTo>
                  <a:pt x="3204598" y="5222810"/>
                  <a:pt x="3190452" y="5227776"/>
                  <a:pt x="3181652" y="5243858"/>
                </a:cubicBezTo>
                <a:cubicBezTo>
                  <a:pt x="3173687" y="5258205"/>
                  <a:pt x="3161797" y="5269597"/>
                  <a:pt x="3144425" y="5261258"/>
                </a:cubicBezTo>
                <a:cubicBezTo>
                  <a:pt x="3126601" y="5251633"/>
                  <a:pt x="3137138" y="5236384"/>
                  <a:pt x="3142147" y="5225963"/>
                </a:cubicBezTo>
                <a:cubicBezTo>
                  <a:pt x="3154669" y="5199910"/>
                  <a:pt x="3149638" y="5181464"/>
                  <a:pt x="3132063" y="5160201"/>
                </a:cubicBezTo>
                <a:cubicBezTo>
                  <a:pt x="3063049" y="5074700"/>
                  <a:pt x="3023997" y="4975794"/>
                  <a:pt x="2992209" y="4872894"/>
                </a:cubicBezTo>
                <a:cubicBezTo>
                  <a:pt x="2975447" y="4821027"/>
                  <a:pt x="2975447" y="4821027"/>
                  <a:pt x="2922382" y="4817997"/>
                </a:cubicBezTo>
                <a:cubicBezTo>
                  <a:pt x="2874077" y="4816185"/>
                  <a:pt x="2874077" y="4816185"/>
                  <a:pt x="2852371" y="4861342"/>
                </a:cubicBezTo>
                <a:cubicBezTo>
                  <a:pt x="2837344" y="4892605"/>
                  <a:pt x="2822769" y="4925153"/>
                  <a:pt x="2799055" y="4952246"/>
                </a:cubicBezTo>
                <a:cubicBezTo>
                  <a:pt x="2786330" y="4965376"/>
                  <a:pt x="2772319" y="4978957"/>
                  <a:pt x="2750389" y="4982323"/>
                </a:cubicBezTo>
                <a:cubicBezTo>
                  <a:pt x="2748832" y="4965544"/>
                  <a:pt x="2755511" y="4951650"/>
                  <a:pt x="2759166" y="4937373"/>
                </a:cubicBezTo>
                <a:cubicBezTo>
                  <a:pt x="2766477" y="4908818"/>
                  <a:pt x="2768193" y="4880785"/>
                  <a:pt x="2758717" y="4853791"/>
                </a:cubicBezTo>
                <a:cubicBezTo>
                  <a:pt x="2754589" y="4837915"/>
                  <a:pt x="2758831" y="4833539"/>
                  <a:pt x="2773428" y="4829858"/>
                </a:cubicBezTo>
                <a:cubicBezTo>
                  <a:pt x="2788026" y="4826178"/>
                  <a:pt x="2803458" y="4820761"/>
                  <a:pt x="2813611" y="4808534"/>
                </a:cubicBezTo>
                <a:cubicBezTo>
                  <a:pt x="2819072" y="4799399"/>
                  <a:pt x="2822795" y="4789429"/>
                  <a:pt x="2820922" y="4779980"/>
                </a:cubicBezTo>
                <a:cubicBezTo>
                  <a:pt x="2816861" y="4768411"/>
                  <a:pt x="2805287" y="4772474"/>
                  <a:pt x="2796668" y="4772612"/>
                </a:cubicBezTo>
                <a:cubicBezTo>
                  <a:pt x="2738910" y="4772674"/>
                  <a:pt x="2681603" y="4774021"/>
                  <a:pt x="2622107" y="4773249"/>
                </a:cubicBezTo>
                <a:lnTo>
                  <a:pt x="2591932" y="4771776"/>
                </a:lnTo>
                <a:lnTo>
                  <a:pt x="2581363" y="4784316"/>
                </a:lnTo>
                <a:cubicBezTo>
                  <a:pt x="2571376" y="4791016"/>
                  <a:pt x="2557281" y="4791697"/>
                  <a:pt x="2533973" y="4788867"/>
                </a:cubicBezTo>
                <a:cubicBezTo>
                  <a:pt x="2506747" y="4786794"/>
                  <a:pt x="2502347" y="4789267"/>
                  <a:pt x="2494641" y="4816770"/>
                </a:cubicBezTo>
                <a:cubicBezTo>
                  <a:pt x="2487900" y="4840836"/>
                  <a:pt x="2498074" y="4864084"/>
                  <a:pt x="2502607" y="4887605"/>
                </a:cubicBezTo>
                <a:cubicBezTo>
                  <a:pt x="2510439" y="4932445"/>
                  <a:pt x="2523908" y="4977012"/>
                  <a:pt x="2530777" y="5025291"/>
                </a:cubicBezTo>
                <a:cubicBezTo>
                  <a:pt x="2534074" y="5046611"/>
                  <a:pt x="2534207" y="5072605"/>
                  <a:pt x="2526229" y="5094470"/>
                </a:cubicBezTo>
                <a:cubicBezTo>
                  <a:pt x="2521688" y="5117298"/>
                  <a:pt x="2507797" y="5133797"/>
                  <a:pt x="2476444" y="5139834"/>
                </a:cubicBezTo>
                <a:cubicBezTo>
                  <a:pt x="2488275" y="5104218"/>
                  <a:pt x="2448950" y="5085771"/>
                  <a:pt x="2456379" y="5052626"/>
                </a:cubicBezTo>
                <a:cubicBezTo>
                  <a:pt x="2435621" y="5020847"/>
                  <a:pt x="2438376" y="4984539"/>
                  <a:pt x="2428893" y="4952213"/>
                </a:cubicBezTo>
                <a:cubicBezTo>
                  <a:pt x="2417209" y="4921126"/>
                  <a:pt x="2408687" y="4885362"/>
                  <a:pt x="2404842" y="4852765"/>
                </a:cubicBezTo>
                <a:cubicBezTo>
                  <a:pt x="2399900" y="4797610"/>
                  <a:pt x="2345447" y="4793459"/>
                  <a:pt x="2313953" y="4819852"/>
                </a:cubicBezTo>
                <a:cubicBezTo>
                  <a:pt x="2307352" y="4823562"/>
                  <a:pt x="2305426" y="4830439"/>
                  <a:pt x="2305700" y="4836077"/>
                </a:cubicBezTo>
                <a:cubicBezTo>
                  <a:pt x="2303773" y="4842953"/>
                  <a:pt x="2307486" y="4849557"/>
                  <a:pt x="2307760" y="4855197"/>
                </a:cubicBezTo>
                <a:cubicBezTo>
                  <a:pt x="2301982" y="4875825"/>
                  <a:pt x="2291528" y="4893287"/>
                  <a:pt x="2273652" y="4897541"/>
                </a:cubicBezTo>
                <a:cubicBezTo>
                  <a:pt x="2253574" y="4903035"/>
                  <a:pt x="2241475" y="4886661"/>
                  <a:pt x="2229651" y="4875929"/>
                </a:cubicBezTo>
                <a:cubicBezTo>
                  <a:pt x="2223740" y="4870562"/>
                  <a:pt x="2222228" y="4862722"/>
                  <a:pt x="2219754" y="4858320"/>
                </a:cubicBezTo>
                <a:cubicBezTo>
                  <a:pt x="2192808" y="4815533"/>
                  <a:pt x="2150045" y="4796122"/>
                  <a:pt x="2105490" y="4809581"/>
                </a:cubicBezTo>
                <a:cubicBezTo>
                  <a:pt x="2095451" y="4812326"/>
                  <a:pt x="2084449" y="4818511"/>
                  <a:pt x="2075923" y="4829098"/>
                </a:cubicBezTo>
                <a:cubicBezTo>
                  <a:pt x="2054741" y="4858383"/>
                  <a:pt x="2019261" y="4872533"/>
                  <a:pt x="1995879" y="4903056"/>
                </a:cubicBezTo>
                <a:cubicBezTo>
                  <a:pt x="1992718" y="4907729"/>
                  <a:pt x="1978003" y="4907311"/>
                  <a:pt x="1971127" y="4905382"/>
                </a:cubicBezTo>
                <a:cubicBezTo>
                  <a:pt x="1957377" y="4901526"/>
                  <a:pt x="1943627" y="4897668"/>
                  <a:pt x="1929602" y="4888172"/>
                </a:cubicBezTo>
                <a:cubicBezTo>
                  <a:pt x="1917777" y="4877438"/>
                  <a:pt x="1908976" y="4882386"/>
                  <a:pt x="1900724" y="4898612"/>
                </a:cubicBezTo>
                <a:cubicBezTo>
                  <a:pt x="1899761" y="4902049"/>
                  <a:pt x="1900035" y="4907689"/>
                  <a:pt x="1896871" y="4912363"/>
                </a:cubicBezTo>
                <a:cubicBezTo>
                  <a:pt x="1891507" y="4918275"/>
                  <a:pt x="1883944" y="4925423"/>
                  <a:pt x="1877068" y="4923495"/>
                </a:cubicBezTo>
                <a:cubicBezTo>
                  <a:pt x="1865518" y="4918402"/>
                  <a:pt x="1869644" y="4910289"/>
                  <a:pt x="1870333" y="4901212"/>
                </a:cubicBezTo>
                <a:cubicBezTo>
                  <a:pt x="1875838" y="4874945"/>
                  <a:pt x="1893855" y="4850334"/>
                  <a:pt x="1885608" y="4820209"/>
                </a:cubicBezTo>
                <a:cubicBezTo>
                  <a:pt x="1882860" y="4810168"/>
                  <a:pt x="1874473" y="4800399"/>
                  <a:pt x="1867872" y="4804109"/>
                </a:cubicBezTo>
                <a:cubicBezTo>
                  <a:pt x="1856871" y="4810294"/>
                  <a:pt x="1844630" y="4814276"/>
                  <a:pt x="1837342" y="4827064"/>
                </a:cubicBezTo>
                <a:cubicBezTo>
                  <a:pt x="1832253" y="4838614"/>
                  <a:pt x="1815886" y="4850711"/>
                  <a:pt x="1799662" y="4842451"/>
                </a:cubicBezTo>
                <a:cubicBezTo>
                  <a:pt x="1782199" y="4831991"/>
                  <a:pt x="1762537" y="4822766"/>
                  <a:pt x="1758003" y="4799247"/>
                </a:cubicBezTo>
                <a:cubicBezTo>
                  <a:pt x="1758965" y="4795808"/>
                  <a:pt x="1769967" y="4789623"/>
                  <a:pt x="1769692" y="4783984"/>
                </a:cubicBezTo>
                <a:cubicBezTo>
                  <a:pt x="1765706" y="4771742"/>
                  <a:pt x="1760484" y="4757298"/>
                  <a:pt x="1743295" y="4752477"/>
                </a:cubicBezTo>
                <a:cubicBezTo>
                  <a:pt x="1699843" y="4742143"/>
                  <a:pt x="1659281" y="4721494"/>
                  <a:pt x="1616518" y="4702082"/>
                </a:cubicBezTo>
                <a:cubicBezTo>
                  <a:pt x="1589980" y="4690930"/>
                  <a:pt x="1563302" y="4700133"/>
                  <a:pt x="1541847" y="4723780"/>
                </a:cubicBezTo>
                <a:cubicBezTo>
                  <a:pt x="1515028" y="4753336"/>
                  <a:pt x="1513791" y="4751137"/>
                  <a:pt x="1482305" y="4731179"/>
                </a:cubicBezTo>
                <a:cubicBezTo>
                  <a:pt x="1468280" y="4721683"/>
                  <a:pt x="1460166" y="4717553"/>
                  <a:pt x="1473783" y="4695417"/>
                </a:cubicBezTo>
                <a:cubicBezTo>
                  <a:pt x="1493726" y="4663929"/>
                  <a:pt x="1488645" y="4629131"/>
                  <a:pt x="1468846" y="4593913"/>
                </a:cubicBezTo>
                <a:cubicBezTo>
                  <a:pt x="1444102" y="4549890"/>
                  <a:pt x="1408904" y="4523329"/>
                  <a:pt x="1363940" y="4505154"/>
                </a:cubicBezTo>
                <a:cubicBezTo>
                  <a:pt x="1355828" y="4501025"/>
                  <a:pt x="1348953" y="4499096"/>
                  <a:pt x="1341662" y="4511882"/>
                </a:cubicBezTo>
                <a:cubicBezTo>
                  <a:pt x="1330247" y="4532784"/>
                  <a:pt x="1307968" y="4539514"/>
                  <a:pt x="1289128" y="4547206"/>
                </a:cubicBezTo>
                <a:cubicBezTo>
                  <a:pt x="1263686" y="4558610"/>
                  <a:pt x="1224087" y="4534523"/>
                  <a:pt x="1221480" y="4504127"/>
                </a:cubicBezTo>
                <a:cubicBezTo>
                  <a:pt x="1218870" y="4473732"/>
                  <a:pt x="1214062" y="4444570"/>
                  <a:pt x="1220530" y="4414866"/>
                </a:cubicBezTo>
                <a:cubicBezTo>
                  <a:pt x="1223419" y="4404551"/>
                  <a:pt x="1225345" y="4397676"/>
                  <a:pt x="1239097" y="4401534"/>
                </a:cubicBezTo>
                <a:cubicBezTo>
                  <a:pt x="1249407" y="4404427"/>
                  <a:pt x="1253261" y="4390675"/>
                  <a:pt x="1251750" y="4382834"/>
                </a:cubicBezTo>
                <a:cubicBezTo>
                  <a:pt x="1251202" y="4371557"/>
                  <a:pt x="1255052" y="4357804"/>
                  <a:pt x="1254504" y="4346526"/>
                </a:cubicBezTo>
                <a:cubicBezTo>
                  <a:pt x="1251755" y="4336486"/>
                  <a:pt x="1238969" y="4329190"/>
                  <a:pt x="1230581" y="4319421"/>
                </a:cubicBezTo>
                <a:cubicBezTo>
                  <a:pt x="1216765" y="4302566"/>
                  <a:pt x="1202948" y="4285711"/>
                  <a:pt x="1186758" y="4272364"/>
                </a:cubicBezTo>
                <a:lnTo>
                  <a:pt x="1175214" y="4264939"/>
                </a:lnTo>
                <a:lnTo>
                  <a:pt x="1161833" y="4266023"/>
                </a:lnTo>
                <a:cubicBezTo>
                  <a:pt x="1154415" y="4265067"/>
                  <a:pt x="1147356" y="4262915"/>
                  <a:pt x="1140837" y="4258967"/>
                </a:cubicBezTo>
                <a:lnTo>
                  <a:pt x="1128185" y="4246273"/>
                </a:lnTo>
                <a:lnTo>
                  <a:pt x="1114189" y="4244360"/>
                </a:lnTo>
                <a:cubicBezTo>
                  <a:pt x="1109687" y="4244719"/>
                  <a:pt x="1105528" y="4246333"/>
                  <a:pt x="1101745" y="4249907"/>
                </a:cubicBezTo>
                <a:cubicBezTo>
                  <a:pt x="1097344" y="4252381"/>
                  <a:pt x="1093356" y="4251725"/>
                  <a:pt x="1089334" y="4250366"/>
                </a:cubicBezTo>
                <a:lnTo>
                  <a:pt x="1081819" y="4248119"/>
                </a:lnTo>
                <a:lnTo>
                  <a:pt x="1066120" y="4264125"/>
                </a:lnTo>
                <a:cubicBezTo>
                  <a:pt x="1059898" y="4273698"/>
                  <a:pt x="1055110" y="4284226"/>
                  <a:pt x="1050323" y="4294755"/>
                </a:cubicBezTo>
                <a:cubicBezTo>
                  <a:pt x="1036917" y="4327300"/>
                  <a:pt x="1015857" y="4348360"/>
                  <a:pt x="983313" y="4357938"/>
                </a:cubicBezTo>
                <a:cubicBezTo>
                  <a:pt x="975658" y="4350281"/>
                  <a:pt x="968002" y="4342625"/>
                  <a:pt x="960346" y="4334969"/>
                </a:cubicBezTo>
                <a:cubicBezTo>
                  <a:pt x="971834" y="4319654"/>
                  <a:pt x="985236" y="4306251"/>
                  <a:pt x="1002467" y="4292849"/>
                </a:cubicBezTo>
                <a:cubicBezTo>
                  <a:pt x="1013954" y="4281362"/>
                  <a:pt x="1027355" y="4271788"/>
                  <a:pt x="1033100" y="4258387"/>
                </a:cubicBezTo>
                <a:cubicBezTo>
                  <a:pt x="1065652" y="4210525"/>
                  <a:pt x="1052257" y="4177986"/>
                  <a:pt x="998661" y="4158853"/>
                </a:cubicBezTo>
                <a:cubicBezTo>
                  <a:pt x="958462" y="4149287"/>
                  <a:pt x="954636" y="4141631"/>
                  <a:pt x="956556" y="4105261"/>
                </a:cubicBezTo>
                <a:cubicBezTo>
                  <a:pt x="960392" y="4063146"/>
                  <a:pt x="946994" y="4049748"/>
                  <a:pt x="904879" y="4057413"/>
                </a:cubicBezTo>
                <a:cubicBezTo>
                  <a:pt x="899136" y="4059328"/>
                  <a:pt x="891479" y="4063158"/>
                  <a:pt x="885736" y="4065073"/>
                </a:cubicBezTo>
                <a:cubicBezTo>
                  <a:pt x="843619" y="4080393"/>
                  <a:pt x="822567" y="4059341"/>
                  <a:pt x="818745" y="4013399"/>
                </a:cubicBezTo>
                <a:cubicBezTo>
                  <a:pt x="820662" y="4000000"/>
                  <a:pt x="822578" y="3986599"/>
                  <a:pt x="826409" y="3971284"/>
                </a:cubicBezTo>
                <a:cubicBezTo>
                  <a:pt x="834075" y="3917683"/>
                  <a:pt x="847483" y="3865997"/>
                  <a:pt x="870463" y="3816223"/>
                </a:cubicBezTo>
                <a:cubicBezTo>
                  <a:pt x="887698" y="3779849"/>
                  <a:pt x="883874" y="3753050"/>
                  <a:pt x="849420" y="3733913"/>
                </a:cubicBezTo>
                <a:cubicBezTo>
                  <a:pt x="845592" y="3730085"/>
                  <a:pt x="841764" y="3726257"/>
                  <a:pt x="837936" y="3722429"/>
                </a:cubicBezTo>
                <a:cubicBezTo>
                  <a:pt x="820712" y="3697547"/>
                  <a:pt x="820715" y="3682233"/>
                  <a:pt x="847517" y="3670743"/>
                </a:cubicBezTo>
                <a:lnTo>
                  <a:pt x="871187" y="3654468"/>
                </a:lnTo>
                <a:lnTo>
                  <a:pt x="862921" y="3655033"/>
                </a:lnTo>
                <a:lnTo>
                  <a:pt x="865726" y="3649731"/>
                </a:lnTo>
                <a:cubicBezTo>
                  <a:pt x="872742" y="3631304"/>
                  <a:pt x="907125" y="3594598"/>
                  <a:pt x="920326" y="3587177"/>
                </a:cubicBezTo>
                <a:lnTo>
                  <a:pt x="925490" y="3584399"/>
                </a:lnTo>
                <a:lnTo>
                  <a:pt x="928649" y="3574777"/>
                </a:lnTo>
                <a:cubicBezTo>
                  <a:pt x="929489" y="3567001"/>
                  <a:pt x="928593" y="3559165"/>
                  <a:pt x="925932" y="3550999"/>
                </a:cubicBezTo>
                <a:lnTo>
                  <a:pt x="917654" y="3534979"/>
                </a:lnTo>
                <a:lnTo>
                  <a:pt x="912238" y="3534153"/>
                </a:lnTo>
                <a:cubicBezTo>
                  <a:pt x="905209" y="3531949"/>
                  <a:pt x="898814" y="3528302"/>
                  <a:pt x="892558" y="3527474"/>
                </a:cubicBezTo>
                <a:cubicBezTo>
                  <a:pt x="879637" y="3494184"/>
                  <a:pt x="853232" y="3509027"/>
                  <a:pt x="830681" y="3510117"/>
                </a:cubicBezTo>
                <a:cubicBezTo>
                  <a:pt x="759587" y="3512423"/>
                  <a:pt x="693717" y="3529172"/>
                  <a:pt x="626610" y="3543722"/>
                </a:cubicBezTo>
                <a:cubicBezTo>
                  <a:pt x="613133" y="3545504"/>
                  <a:pt x="597458" y="3548522"/>
                  <a:pt x="581781" y="3551541"/>
                </a:cubicBezTo>
                <a:cubicBezTo>
                  <a:pt x="560466" y="3554832"/>
                  <a:pt x="538189" y="3561561"/>
                  <a:pt x="534885" y="3586592"/>
                </a:cubicBezTo>
                <a:cubicBezTo>
                  <a:pt x="531032" y="3600343"/>
                  <a:pt x="518793" y="3604326"/>
                  <a:pt x="508756" y="3607073"/>
                </a:cubicBezTo>
                <a:cubicBezTo>
                  <a:pt x="497754" y="3613256"/>
                  <a:pt x="482766" y="3607199"/>
                  <a:pt x="473000" y="3615583"/>
                </a:cubicBezTo>
                <a:cubicBezTo>
                  <a:pt x="468600" y="3618056"/>
                  <a:pt x="454850" y="3614200"/>
                  <a:pt x="451138" y="3607596"/>
                </a:cubicBezTo>
                <a:cubicBezTo>
                  <a:pt x="431341" y="3583966"/>
                  <a:pt x="418198" y="3540301"/>
                  <a:pt x="426615" y="3498773"/>
                </a:cubicBezTo>
                <a:lnTo>
                  <a:pt x="434951" y="3478138"/>
                </a:lnTo>
                <a:lnTo>
                  <a:pt x="0" y="347813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350">
                <a:latin typeface="Asap" panose="02000506040000020004" pitchFamily="2" charset="0"/>
                <a:cs typeface="Arial" pitchFamily="34" charset="0"/>
                <a:sym typeface="Asap" panose="02000506040000020004" pitchFamily="2" charset="0"/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altLang="ko-KR" dirty="0"/>
              <a:t>Your Picture Here And Send To Back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862647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s and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E0FF43E-6C8E-4C07-8881-408A889C6F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82390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2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E0FF43E-6C8E-4C07-8881-408A889C6F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CB7E376F-0253-46E6-902C-2CA1892242C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2"/>
            <a:ext cx="9144002" cy="2820255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685800" rtl="0" eaLnBrk="1" fontAlgn="auto" latinLnBrk="1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50">
                <a:latin typeface="Asap" panose="02000506040000020004" pitchFamily="2" charset="0"/>
                <a:sym typeface="Asap" panose="02000506040000020004" pitchFamily="2" charset="0"/>
              </a:defRPr>
            </a:lvl1pPr>
          </a:lstStyle>
          <a:p>
            <a:r>
              <a:rPr lang="en-US" altLang="ko-KR" dirty="0"/>
              <a:t>Your Picture Here And Send To Back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0182290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538619A-F96B-4A3E-A0C2-112D2320DC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100622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6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538619A-F96B-4A3E-A0C2-112D2320DC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18B8CAF3-9328-4AEF-8C03-A4E21A15B3D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1255" y="423035"/>
            <a:ext cx="4968014" cy="4297432"/>
          </a:xfrm>
          <a:custGeom>
            <a:avLst/>
            <a:gdLst>
              <a:gd name="connsiteX0" fmla="*/ 1832943 w 6624018"/>
              <a:gd name="connsiteY0" fmla="*/ 4748834 h 5729909"/>
              <a:gd name="connsiteX1" fmla="*/ 6624018 w 6624018"/>
              <a:gd name="connsiteY1" fmla="*/ 4748834 h 5729909"/>
              <a:gd name="connsiteX2" fmla="*/ 6624018 w 6624018"/>
              <a:gd name="connsiteY2" fmla="*/ 5729909 h 5729909"/>
              <a:gd name="connsiteX3" fmla="*/ 1832943 w 6624018"/>
              <a:gd name="connsiteY3" fmla="*/ 5729909 h 5729909"/>
              <a:gd name="connsiteX4" fmla="*/ 1841224 w 6624018"/>
              <a:gd name="connsiteY4" fmla="*/ 2822714 h 5729909"/>
              <a:gd name="connsiteX5" fmla="*/ 3091438 w 6624018"/>
              <a:gd name="connsiteY5" fmla="*/ 2822714 h 5729909"/>
              <a:gd name="connsiteX6" fmla="*/ 3091438 w 6624018"/>
              <a:gd name="connsiteY6" fmla="*/ 4611758 h 5729909"/>
              <a:gd name="connsiteX7" fmla="*/ 1841224 w 6624018"/>
              <a:gd name="connsiteY7" fmla="*/ 4611758 h 5729909"/>
              <a:gd name="connsiteX8" fmla="*/ 0 w 6624018"/>
              <a:gd name="connsiteY8" fmla="*/ 2822714 h 5729909"/>
              <a:gd name="connsiteX9" fmla="*/ 1690847 w 6624018"/>
              <a:gd name="connsiteY9" fmla="*/ 2822714 h 5729909"/>
              <a:gd name="connsiteX10" fmla="*/ 1690847 w 6624018"/>
              <a:gd name="connsiteY10" fmla="*/ 4949686 h 5729909"/>
              <a:gd name="connsiteX11" fmla="*/ 0 w 6624018"/>
              <a:gd name="connsiteY11" fmla="*/ 4949686 h 5729909"/>
              <a:gd name="connsiteX12" fmla="*/ 3241814 w 6624018"/>
              <a:gd name="connsiteY12" fmla="*/ 1928192 h 5729909"/>
              <a:gd name="connsiteX13" fmla="*/ 6042992 w 6624018"/>
              <a:gd name="connsiteY13" fmla="*/ 1928192 h 5729909"/>
              <a:gd name="connsiteX14" fmla="*/ 6042992 w 6624018"/>
              <a:gd name="connsiteY14" fmla="*/ 4611758 h 5729909"/>
              <a:gd name="connsiteX15" fmla="*/ 3241814 w 6624018"/>
              <a:gd name="connsiteY15" fmla="*/ 4611758 h 5729909"/>
              <a:gd name="connsiteX16" fmla="*/ 290259 w 6624018"/>
              <a:gd name="connsiteY16" fmla="*/ 894522 h 5729909"/>
              <a:gd name="connsiteX17" fmla="*/ 3091436 w 6624018"/>
              <a:gd name="connsiteY17" fmla="*/ 894522 h 5729909"/>
              <a:gd name="connsiteX18" fmla="*/ 3091436 w 6624018"/>
              <a:gd name="connsiteY18" fmla="*/ 2683566 h 5729909"/>
              <a:gd name="connsiteX19" fmla="*/ 290259 w 6624018"/>
              <a:gd name="connsiteY19" fmla="*/ 2683566 h 5729909"/>
              <a:gd name="connsiteX20" fmla="*/ 3241813 w 6624018"/>
              <a:gd name="connsiteY20" fmla="*/ 0 h 5729909"/>
              <a:gd name="connsiteX21" fmla="*/ 4979872 w 6624018"/>
              <a:gd name="connsiteY21" fmla="*/ 0 h 5729909"/>
              <a:gd name="connsiteX22" fmla="*/ 4979872 w 6624018"/>
              <a:gd name="connsiteY22" fmla="*/ 1789044 h 5729909"/>
              <a:gd name="connsiteX23" fmla="*/ 3241813 w 6624018"/>
              <a:gd name="connsiteY23" fmla="*/ 1789044 h 5729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6624018" h="5729909">
                <a:moveTo>
                  <a:pt x="1832943" y="4748834"/>
                </a:moveTo>
                <a:lnTo>
                  <a:pt x="6624018" y="4748834"/>
                </a:lnTo>
                <a:lnTo>
                  <a:pt x="6624018" y="5729909"/>
                </a:lnTo>
                <a:lnTo>
                  <a:pt x="1832943" y="5729909"/>
                </a:lnTo>
                <a:close/>
                <a:moveTo>
                  <a:pt x="1841224" y="2822714"/>
                </a:moveTo>
                <a:lnTo>
                  <a:pt x="3091438" y="2822714"/>
                </a:lnTo>
                <a:lnTo>
                  <a:pt x="3091438" y="4611758"/>
                </a:lnTo>
                <a:lnTo>
                  <a:pt x="1841224" y="4611758"/>
                </a:lnTo>
                <a:close/>
                <a:moveTo>
                  <a:pt x="0" y="2822714"/>
                </a:moveTo>
                <a:lnTo>
                  <a:pt x="1690847" y="2822714"/>
                </a:lnTo>
                <a:lnTo>
                  <a:pt x="1690847" y="4949686"/>
                </a:lnTo>
                <a:lnTo>
                  <a:pt x="0" y="4949686"/>
                </a:lnTo>
                <a:close/>
                <a:moveTo>
                  <a:pt x="3241814" y="1928192"/>
                </a:moveTo>
                <a:lnTo>
                  <a:pt x="6042992" y="1928192"/>
                </a:lnTo>
                <a:lnTo>
                  <a:pt x="6042992" y="4611758"/>
                </a:lnTo>
                <a:lnTo>
                  <a:pt x="3241814" y="4611758"/>
                </a:lnTo>
                <a:close/>
                <a:moveTo>
                  <a:pt x="290259" y="894522"/>
                </a:moveTo>
                <a:lnTo>
                  <a:pt x="3091436" y="894522"/>
                </a:lnTo>
                <a:lnTo>
                  <a:pt x="3091436" y="2683566"/>
                </a:lnTo>
                <a:lnTo>
                  <a:pt x="290259" y="2683566"/>
                </a:lnTo>
                <a:close/>
                <a:moveTo>
                  <a:pt x="3241813" y="0"/>
                </a:moveTo>
                <a:lnTo>
                  <a:pt x="4979872" y="0"/>
                </a:lnTo>
                <a:lnTo>
                  <a:pt x="4979872" y="1789044"/>
                </a:lnTo>
                <a:lnTo>
                  <a:pt x="3241813" y="17890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marR="0" indent="0" algn="ct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ko-KR" altLang="en-US" sz="1350">
                <a:solidFill>
                  <a:schemeClr val="tx1">
                    <a:lumMod val="75000"/>
                    <a:lumOff val="25000"/>
                  </a:schemeClr>
                </a:solidFill>
                <a:latin typeface="Asap" panose="02000506040000020004" pitchFamily="2" charset="0"/>
                <a:sym typeface="Asap" panose="02000506040000020004" pitchFamily="2" charset="0"/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ko-KR" dirty="0"/>
              <a:t>Place Your Picture Here Send To Back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15817016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NG sets layou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9664A7A-4B63-4F97-8920-1B0858B50A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833455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0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9664A7A-4B63-4F97-8920-1B0858B50A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42647" y="184045"/>
            <a:ext cx="8679898" cy="5431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05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Asap" panose="02000506040000020004" pitchFamily="2" charset="0"/>
                <a:cs typeface="Arial" pitchFamily="34" charset="0"/>
                <a:sym typeface="Asap" panose="02000506040000020004" pitchFamily="2" charset="0"/>
              </a:defRPr>
            </a:lvl1pPr>
          </a:lstStyle>
          <a:p>
            <a:pPr lvl="0"/>
            <a:r>
              <a:rPr lang="en-US" altLang="ko-KR" dirty="0"/>
              <a:t>PNG &amp; Shapes Layout</a:t>
            </a:r>
          </a:p>
        </p:txBody>
      </p:sp>
    </p:spTree>
    <p:extLst>
      <p:ext uri="{BB962C8B-B14F-4D97-AF65-F5344CB8AC3E}">
        <p14:creationId xmlns:p14="http://schemas.microsoft.com/office/powerpoint/2010/main" val="70772318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s and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B181107-1F34-4506-907D-75B3B90F49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0939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4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B181107-1F34-4506-907D-75B3B90F49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1466589"/>
            <a:ext cx="9144000" cy="1761660"/>
          </a:xfrm>
          <a:prstGeom prst="rect">
            <a:avLst/>
          </a:prstGeom>
          <a:gradFill>
            <a:gsLst>
              <a:gs pos="66000">
                <a:schemeClr val="accent3"/>
              </a:gs>
              <a:gs pos="33000">
                <a:schemeClr val="accent2"/>
              </a:gs>
              <a:gs pos="0">
                <a:schemeClr val="accent1"/>
              </a:gs>
              <a:gs pos="96000">
                <a:schemeClr val="accent4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0">
              <a:latin typeface="Asap" panose="02000506040000020004" pitchFamily="2" charset="0"/>
              <a:cs typeface="Arial" pitchFamily="34" charset="0"/>
              <a:sym typeface="Asap" panose="02000506040000020004" pitchFamily="2" charset="0"/>
            </a:endParaRPr>
          </a:p>
        </p:txBody>
      </p:sp>
      <p:sp>
        <p:nvSpPr>
          <p:cNvPr id="7" name="Picture Placeholder 2"/>
          <p:cNvSpPr>
            <a:spLocks noGrp="1"/>
          </p:cNvSpPr>
          <p:nvPr>
            <p:ph type="pic" idx="10" hasCustomPrompt="1"/>
          </p:nvPr>
        </p:nvSpPr>
        <p:spPr>
          <a:xfrm>
            <a:off x="686270" y="1645419"/>
            <a:ext cx="1404000" cy="1404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Asap" panose="02000506040000020004" pitchFamily="2" charset="0"/>
                <a:cs typeface="Arial" pitchFamily="34" charset="0"/>
                <a:sym typeface="Asap" panose="02000506040000020004" pitchFamily="2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8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2846710" y="1645419"/>
            <a:ext cx="1404000" cy="1404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Asap" panose="02000506040000020004" pitchFamily="2" charset="0"/>
                <a:cs typeface="Arial" pitchFamily="34" charset="0"/>
                <a:sym typeface="Asap" panose="02000506040000020004" pitchFamily="2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idx="13" hasCustomPrompt="1"/>
          </p:nvPr>
        </p:nvSpPr>
        <p:spPr>
          <a:xfrm>
            <a:off x="5007150" y="1645419"/>
            <a:ext cx="1404000" cy="1404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Asap" panose="02000506040000020004" pitchFamily="2" charset="0"/>
                <a:cs typeface="Arial" pitchFamily="34" charset="0"/>
                <a:sym typeface="Asap" panose="02000506040000020004" pitchFamily="2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7089211" y="1645419"/>
            <a:ext cx="1404000" cy="1404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Asap" panose="02000506040000020004" pitchFamily="2" charset="0"/>
                <a:cs typeface="Arial" pitchFamily="34" charset="0"/>
                <a:sym typeface="Asap" panose="02000506040000020004" pitchFamily="2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8FFDD507-9677-45A5-88E2-496510E5A49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2647" y="254632"/>
            <a:ext cx="8679898" cy="5431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05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Asap" panose="02000506040000020004" pitchFamily="2" charset="0"/>
                <a:cs typeface="Arial" pitchFamily="34" charset="0"/>
                <a:sym typeface="Asap" panose="02000506040000020004" pitchFamily="2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D8216D7-CA4D-48D3-9D62-1C9BA3F433A6}"/>
              </a:ext>
            </a:extLst>
          </p:cNvPr>
          <p:cNvGrpSpPr/>
          <p:nvPr userDrawn="1"/>
        </p:nvGrpSpPr>
        <p:grpSpPr>
          <a:xfrm>
            <a:off x="0" y="4948390"/>
            <a:ext cx="9144000" cy="195110"/>
            <a:chOff x="4379494" y="697832"/>
            <a:chExt cx="2586787" cy="168442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2EAEB79D-42D9-4854-93EE-6A7860B32C06}"/>
                </a:ext>
              </a:extLst>
            </p:cNvPr>
            <p:cNvSpPr/>
            <p:nvPr/>
          </p:nvSpPr>
          <p:spPr>
            <a:xfrm>
              <a:off x="4379494" y="697832"/>
              <a:ext cx="517358" cy="168442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B331F8D-F639-4D0A-8219-201CB10A84B5}"/>
                </a:ext>
              </a:extLst>
            </p:cNvPr>
            <p:cNvSpPr/>
            <p:nvPr/>
          </p:nvSpPr>
          <p:spPr>
            <a:xfrm>
              <a:off x="4896852" y="697832"/>
              <a:ext cx="517358" cy="16844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8B7EECCE-8A5D-4DE2-92FC-ED13A376AE06}"/>
                </a:ext>
              </a:extLst>
            </p:cNvPr>
            <p:cNvSpPr/>
            <p:nvPr/>
          </p:nvSpPr>
          <p:spPr>
            <a:xfrm>
              <a:off x="5414209" y="697832"/>
              <a:ext cx="517358" cy="16844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121D7071-E31A-4D5F-AA58-5EFBD7BC7CC0}"/>
                </a:ext>
              </a:extLst>
            </p:cNvPr>
            <p:cNvSpPr/>
            <p:nvPr/>
          </p:nvSpPr>
          <p:spPr>
            <a:xfrm>
              <a:off x="5931566" y="697832"/>
              <a:ext cx="517358" cy="1684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D1BC3BF5-51FA-4018-9D97-FFDF71871D4A}"/>
                </a:ext>
              </a:extLst>
            </p:cNvPr>
            <p:cNvSpPr/>
            <p:nvPr/>
          </p:nvSpPr>
          <p:spPr>
            <a:xfrm>
              <a:off x="6448923" y="697832"/>
              <a:ext cx="517358" cy="16844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0310254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Break Slide layou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429EEDE-1B00-4122-9971-5BFC24526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686702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8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429EEDE-1B00-4122-9971-5BFC24526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2">
            <a:extLst>
              <a:ext uri="{FF2B5EF4-FFF2-40B4-BE49-F238E27FC236}">
                <a16:creationId xmlns:a16="http://schemas.microsoft.com/office/drawing/2014/main" id="{CA787091-7430-48E2-A263-D592A20EF329}"/>
              </a:ext>
            </a:extLst>
          </p:cNvPr>
          <p:cNvGrpSpPr/>
          <p:nvPr userDrawn="1"/>
        </p:nvGrpSpPr>
        <p:grpSpPr>
          <a:xfrm>
            <a:off x="0" y="2923674"/>
            <a:ext cx="9144000" cy="1100889"/>
            <a:chOff x="4379494" y="697832"/>
            <a:chExt cx="2586787" cy="168442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9D5B5E3-8451-44E0-A2F2-73F627495F6A}"/>
                </a:ext>
              </a:extLst>
            </p:cNvPr>
            <p:cNvSpPr/>
            <p:nvPr/>
          </p:nvSpPr>
          <p:spPr>
            <a:xfrm>
              <a:off x="4379494" y="697832"/>
              <a:ext cx="517358" cy="168442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7E53FCF4-CFA5-4439-85D7-60C093B7B6F6}"/>
                </a:ext>
              </a:extLst>
            </p:cNvPr>
            <p:cNvSpPr/>
            <p:nvPr/>
          </p:nvSpPr>
          <p:spPr>
            <a:xfrm>
              <a:off x="4896852" y="697832"/>
              <a:ext cx="517358" cy="16844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D14D7CB-A7CE-45EA-BFC0-4EA43BD9D79D}"/>
                </a:ext>
              </a:extLst>
            </p:cNvPr>
            <p:cNvSpPr/>
            <p:nvPr/>
          </p:nvSpPr>
          <p:spPr>
            <a:xfrm>
              <a:off x="5414209" y="697832"/>
              <a:ext cx="517358" cy="16844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3A2D13A-D090-408D-87D5-CF70F6373DDE}"/>
                </a:ext>
              </a:extLst>
            </p:cNvPr>
            <p:cNvSpPr/>
            <p:nvPr/>
          </p:nvSpPr>
          <p:spPr>
            <a:xfrm>
              <a:off x="5931566" y="697832"/>
              <a:ext cx="517358" cy="1684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88284FFD-1FBD-484A-94D6-3BF0E9164477}"/>
                </a:ext>
              </a:extLst>
            </p:cNvPr>
            <p:cNvSpPr/>
            <p:nvPr/>
          </p:nvSpPr>
          <p:spPr>
            <a:xfrm>
              <a:off x="6448923" y="697832"/>
              <a:ext cx="517358" cy="16844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955234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ase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1DDA506-71E9-41E8-B28A-9D73C85730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17171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77D1464-0858-4999-9BB8-564F3381136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sap" panose="02000506040000020004" pitchFamily="2" charset="0"/>
              <a:ea typeface="ＭＳ Ｐゴシック" panose="020B0600070205080204" pitchFamily="34" charset="-128"/>
              <a:cs typeface="Arial" panose="020B0604020202020204" pitchFamily="34" charset="0"/>
              <a:sym typeface="Asap" panose="02000506040000020004" pitchFamily="2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771525" y="891778"/>
            <a:ext cx="7651750" cy="38719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latin typeface="Asap" panose="02000506040000020004" pitchFamily="2" charset="0"/>
              <a:cs typeface="Arial" panose="020B0604020202020204" pitchFamily="34" charset="0"/>
              <a:sym typeface="Asap" panose="02000506040000020004" pitchFamily="2" charset="0"/>
            </a:endParaRP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933017" y="1048576"/>
            <a:ext cx="7259980" cy="357613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solidFill>
                  <a:srgbClr val="7F7F7F"/>
                </a:solidFill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  <a:lvl2pPr>
              <a:defRPr sz="1400">
                <a:solidFill>
                  <a:srgbClr val="7F7F7F"/>
                </a:solidFill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2pPr>
            <a:lvl3pPr>
              <a:defRPr sz="1200">
                <a:solidFill>
                  <a:srgbClr val="7F7F7F"/>
                </a:solidFill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3pPr>
            <a:lvl4pPr>
              <a:defRPr sz="1100">
                <a:solidFill>
                  <a:srgbClr val="7F7F7F"/>
                </a:solidFill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4pPr>
            <a:lvl5pPr>
              <a:defRPr sz="1100">
                <a:solidFill>
                  <a:srgbClr val="7F7F7F"/>
                </a:solidFill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A453D54-1BE6-4F49-B07B-4319F24194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0"/>
            <a:ext cx="6053070" cy="470079"/>
          </a:xfrm>
          <a:prstGeom prst="rect">
            <a:avLst/>
          </a:prstGeom>
        </p:spPr>
        <p:txBody>
          <a:bodyPr/>
          <a:lstStyle>
            <a:lvl1pPr algn="l">
              <a:defRPr sz="200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2044A1B-8FA1-433F-8A6F-3911769087C7}"/>
              </a:ext>
            </a:extLst>
          </p:cNvPr>
          <p:cNvSpPr txBox="1"/>
          <p:nvPr userDrawn="1"/>
        </p:nvSpPr>
        <p:spPr>
          <a:xfrm>
            <a:off x="0" y="4889584"/>
            <a:ext cx="3512501" cy="253916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sap" panose="02000506040000020004" pitchFamily="2" charset="0"/>
              </a:rPr>
              <a:t>Copyright © 2018 </a:t>
            </a:r>
            <a:r>
              <a:rPr lang="en-US" sz="105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sap" panose="02000506040000020004" pitchFamily="2" charset="0"/>
              </a:rPr>
              <a:t>|</a:t>
            </a:r>
            <a:r>
              <a:rPr lang="en-US" sz="80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sap" panose="02000506040000020004" pitchFamily="2" charset="0"/>
              </a:rPr>
              <a:t> Wireless Broadband Alliance Ltd. All rights reserved  </a:t>
            </a:r>
          </a:p>
        </p:txBody>
      </p:sp>
    </p:spTree>
    <p:extLst>
      <p:ext uri="{BB962C8B-B14F-4D97-AF65-F5344CB8AC3E}">
        <p14:creationId xmlns:p14="http://schemas.microsoft.com/office/powerpoint/2010/main" val="12520662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9E4D88-71CA-4464-940D-FAA4DD6F70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6800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44C2A7-4B7C-4B3A-9CFA-08D4676DA2F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sap" panose="02000506040000020004" pitchFamily="2" charset="0"/>
              <a:ea typeface="ＭＳ Ｐゴシック" panose="020B0600070205080204" pitchFamily="34" charset="-128"/>
              <a:cs typeface="Arial" panose="020B0604020202020204" pitchFamily="34" charset="0"/>
              <a:sym typeface="Asap" panose="02000506040000020004" pitchFamily="2" charset="0"/>
            </a:endParaRPr>
          </a:p>
        </p:txBody>
      </p:sp>
      <p:sp>
        <p:nvSpPr>
          <p:cNvPr id="11" name="Content Placeholder 2"/>
          <p:cNvSpPr>
            <a:spLocks noGrp="1"/>
          </p:cNvSpPr>
          <p:nvPr>
            <p:ph sz="half" idx="1"/>
          </p:nvPr>
        </p:nvSpPr>
        <p:spPr>
          <a:xfrm>
            <a:off x="1091922" y="1461955"/>
            <a:ext cx="6960156" cy="28708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958EC34-25E7-4B83-A97B-D304AFB004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0"/>
            <a:ext cx="6053070" cy="470079"/>
          </a:xfrm>
          <a:prstGeom prst="rect">
            <a:avLst/>
          </a:prstGeom>
        </p:spPr>
        <p:txBody>
          <a:bodyPr/>
          <a:lstStyle>
            <a:lvl1pPr algn="l">
              <a:defRPr sz="200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0E58891-66BE-4D90-AC27-0CD167660BAB}"/>
              </a:ext>
            </a:extLst>
          </p:cNvPr>
          <p:cNvSpPr txBox="1"/>
          <p:nvPr userDrawn="1"/>
        </p:nvSpPr>
        <p:spPr>
          <a:xfrm>
            <a:off x="0" y="4889584"/>
            <a:ext cx="3512501" cy="253916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sap" panose="02000506040000020004" pitchFamily="2" charset="0"/>
              </a:rPr>
              <a:t>Copyright © 2018 </a:t>
            </a:r>
            <a:r>
              <a:rPr lang="en-US" sz="105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sap" panose="02000506040000020004" pitchFamily="2" charset="0"/>
              </a:rPr>
              <a:t>|</a:t>
            </a:r>
            <a:r>
              <a:rPr lang="en-US" sz="80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sap" panose="02000506040000020004" pitchFamily="2" charset="0"/>
              </a:rPr>
              <a:t> Wireless Broadband Alliance Ltd. All rights reserved  </a:t>
            </a:r>
          </a:p>
        </p:txBody>
      </p:sp>
    </p:spTree>
    <p:extLst>
      <p:ext uri="{BB962C8B-B14F-4D97-AF65-F5344CB8AC3E}">
        <p14:creationId xmlns:p14="http://schemas.microsoft.com/office/powerpoint/2010/main" val="2195637477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T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9E669F1-38B1-4FCE-809C-AFD5435FD7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56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BA06ABE-A03F-4ECF-91A8-F721530B76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sap" panose="02000506040000020004" pitchFamily="2" charset="0"/>
              <a:ea typeface="ＭＳ Ｐゴシック" panose="020B0600070205080204" pitchFamily="34" charset="-128"/>
              <a:cs typeface="Arial" panose="020B0604020202020204" pitchFamily="34" charset="0"/>
              <a:sym typeface="Asap" panose="02000506040000020004" pitchFamily="2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1922" y="1395886"/>
            <a:ext cx="3403878" cy="28708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395886"/>
            <a:ext cx="3403878" cy="28708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aseline="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EA38D99-D65E-419B-B3B3-C18FFBA71B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0"/>
            <a:ext cx="6053070" cy="470079"/>
          </a:xfrm>
          <a:prstGeom prst="rect">
            <a:avLst/>
          </a:prstGeom>
        </p:spPr>
        <p:txBody>
          <a:bodyPr/>
          <a:lstStyle>
            <a:lvl1pPr algn="l">
              <a:defRPr sz="200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CF137EF-553A-432F-86D3-2C539C52B407}"/>
              </a:ext>
            </a:extLst>
          </p:cNvPr>
          <p:cNvSpPr txBox="1"/>
          <p:nvPr userDrawn="1"/>
        </p:nvSpPr>
        <p:spPr>
          <a:xfrm>
            <a:off x="0" y="4889584"/>
            <a:ext cx="3512501" cy="253916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sap" panose="02000506040000020004" pitchFamily="2" charset="0"/>
              </a:rPr>
              <a:t>Copyright © 2018 </a:t>
            </a:r>
            <a:r>
              <a:rPr lang="en-US" sz="105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sap" panose="02000506040000020004" pitchFamily="2" charset="0"/>
              </a:rPr>
              <a:t>|</a:t>
            </a:r>
            <a:r>
              <a:rPr lang="en-US" sz="80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sap" panose="02000506040000020004" pitchFamily="2" charset="0"/>
              </a:rPr>
              <a:t> Wireless Broadband Alliance Ltd. All rights reserved  </a:t>
            </a:r>
          </a:p>
        </p:txBody>
      </p:sp>
    </p:spTree>
    <p:extLst>
      <p:ext uri="{BB962C8B-B14F-4D97-AF65-F5344CB8AC3E}">
        <p14:creationId xmlns:p14="http://schemas.microsoft.com/office/powerpoint/2010/main" val="495587228"/>
      </p:ext>
    </p:extLst>
  </p:cSld>
  <p:clrMapOvr>
    <a:masterClrMapping/>
  </p:clrMapOvr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Lon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50D73E-0004-476D-BBAB-CF2F558B66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0618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B651856-6C1A-44EF-811A-7CD2CA3B514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sap" panose="02000506040000020004" pitchFamily="2" charset="0"/>
              <a:ea typeface="ＭＳ Ｐゴシック" panose="020B0600070205080204" pitchFamily="34" charset="-128"/>
              <a:cs typeface="Arial" panose="020B0604020202020204" pitchFamily="34" charset="0"/>
              <a:sym typeface="Asap" panose="02000506040000020004" pitchFamily="2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92597" y="1178218"/>
            <a:ext cx="6558806" cy="12698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aseline="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0"/>
          </p:nvPr>
        </p:nvSpPr>
        <p:spPr>
          <a:xfrm>
            <a:off x="1292597" y="3124679"/>
            <a:ext cx="6558806" cy="12698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DF4D8BC9-91CD-45A1-8F4F-26A6D42E0D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0"/>
            <a:ext cx="6053070" cy="470079"/>
          </a:xfrm>
          <a:prstGeom prst="rect">
            <a:avLst/>
          </a:prstGeom>
        </p:spPr>
        <p:txBody>
          <a:bodyPr/>
          <a:lstStyle>
            <a:lvl1pPr algn="l">
              <a:defRPr sz="200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EA46C0D-E95F-4271-BF0F-EE6ABCD56304}"/>
              </a:ext>
            </a:extLst>
          </p:cNvPr>
          <p:cNvSpPr txBox="1"/>
          <p:nvPr userDrawn="1"/>
        </p:nvSpPr>
        <p:spPr>
          <a:xfrm>
            <a:off x="0" y="4889584"/>
            <a:ext cx="3512501" cy="253916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sap" panose="02000506040000020004" pitchFamily="2" charset="0"/>
              </a:rPr>
              <a:t>Copyright © 2018 </a:t>
            </a:r>
            <a:r>
              <a:rPr lang="en-US" sz="105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sap" panose="02000506040000020004" pitchFamily="2" charset="0"/>
              </a:rPr>
              <a:t>|</a:t>
            </a:r>
            <a:r>
              <a:rPr lang="en-US" sz="80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sap" panose="02000506040000020004" pitchFamily="2" charset="0"/>
              </a:rPr>
              <a:t> Wireless Broadband Alliance Ltd. All rights reserved  </a:t>
            </a:r>
          </a:p>
        </p:txBody>
      </p:sp>
    </p:spTree>
    <p:extLst>
      <p:ext uri="{BB962C8B-B14F-4D97-AF65-F5344CB8AC3E}">
        <p14:creationId xmlns:p14="http://schemas.microsoft.com/office/powerpoint/2010/main" val="4181147877"/>
      </p:ext>
    </p:extLst>
  </p:cSld>
  <p:clrMapOvr>
    <a:masterClrMapping/>
  </p:clrMapOvr>
  <p:hf sldNum="0"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BA Logo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9893D24-6024-4852-B1DC-FBDB0CFAC1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3608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CC6D875-D6E6-4F90-9A2F-7D36F44655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sap" panose="02000506040000020004" pitchFamily="2" charset="0"/>
              <a:ea typeface="ＭＳ Ｐゴシック" panose="020B0600070205080204" pitchFamily="34" charset="-128"/>
              <a:cs typeface="Arial" panose="020B0604020202020204" pitchFamily="34" charset="0"/>
              <a:sym typeface="Asap" panose="02000506040000020004" pitchFamily="2" charset="0"/>
            </a:endParaRPr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6480057" y="896471"/>
            <a:ext cx="1919941" cy="14511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1" baseline="0">
                <a:solidFill>
                  <a:srgbClr val="7F7F7F"/>
                </a:solidFill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  <a:lvl2pPr>
              <a:defRPr sz="1600">
                <a:solidFill>
                  <a:srgbClr val="7F7F7F"/>
                </a:solidFill>
                <a:latin typeface="Asap"/>
                <a:cs typeface="Asap"/>
              </a:defRPr>
            </a:lvl2pPr>
            <a:lvl3pPr>
              <a:defRPr sz="1400">
                <a:solidFill>
                  <a:srgbClr val="7F7F7F"/>
                </a:solidFill>
                <a:latin typeface="Asap"/>
                <a:cs typeface="Asap"/>
              </a:defRPr>
            </a:lvl3pPr>
            <a:lvl4pPr>
              <a:defRPr sz="1200">
                <a:solidFill>
                  <a:srgbClr val="7F7F7F"/>
                </a:solidFill>
                <a:latin typeface="Asap"/>
                <a:cs typeface="Asap"/>
              </a:defRPr>
            </a:lvl4pPr>
            <a:lvl5pPr>
              <a:defRPr sz="1200">
                <a:solidFill>
                  <a:srgbClr val="7F7F7F"/>
                </a:solidFill>
                <a:latin typeface="Asap"/>
                <a:cs typeface="Asap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13"/>
          </p:nvPr>
        </p:nvSpPr>
        <p:spPr>
          <a:xfrm>
            <a:off x="782036" y="1171015"/>
            <a:ext cx="4355353" cy="127747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1" baseline="0">
                <a:solidFill>
                  <a:srgbClr val="7F7F7F"/>
                </a:solidFill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  <a:lvl2pPr>
              <a:defRPr sz="1600">
                <a:solidFill>
                  <a:srgbClr val="7F7F7F"/>
                </a:solidFill>
                <a:latin typeface="Asap"/>
                <a:cs typeface="Asap"/>
              </a:defRPr>
            </a:lvl2pPr>
            <a:lvl3pPr>
              <a:defRPr sz="1400">
                <a:solidFill>
                  <a:srgbClr val="7F7F7F"/>
                </a:solidFill>
                <a:latin typeface="Asap"/>
                <a:cs typeface="Asap"/>
              </a:defRPr>
            </a:lvl3pPr>
            <a:lvl4pPr>
              <a:defRPr sz="1200">
                <a:solidFill>
                  <a:srgbClr val="7F7F7F"/>
                </a:solidFill>
                <a:latin typeface="Asap"/>
                <a:cs typeface="Asap"/>
              </a:defRPr>
            </a:lvl4pPr>
            <a:lvl5pPr>
              <a:defRPr sz="1200">
                <a:solidFill>
                  <a:srgbClr val="7F7F7F"/>
                </a:solidFill>
                <a:latin typeface="Asap"/>
                <a:cs typeface="Asap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14"/>
          </p:nvPr>
        </p:nvSpPr>
        <p:spPr>
          <a:xfrm>
            <a:off x="1280460" y="3117477"/>
            <a:ext cx="6571129" cy="127747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1" baseline="0">
                <a:solidFill>
                  <a:srgbClr val="7F7F7F"/>
                </a:solidFill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  <a:lvl2pPr>
              <a:defRPr sz="1600">
                <a:solidFill>
                  <a:srgbClr val="7F7F7F"/>
                </a:solidFill>
                <a:latin typeface="Asap"/>
                <a:cs typeface="Asap"/>
              </a:defRPr>
            </a:lvl2pPr>
            <a:lvl3pPr>
              <a:defRPr sz="1400">
                <a:solidFill>
                  <a:srgbClr val="7F7F7F"/>
                </a:solidFill>
                <a:latin typeface="Asap"/>
                <a:cs typeface="Asap"/>
              </a:defRPr>
            </a:lvl3pPr>
            <a:lvl4pPr>
              <a:defRPr sz="1200">
                <a:solidFill>
                  <a:srgbClr val="7F7F7F"/>
                </a:solidFill>
                <a:latin typeface="Asap"/>
                <a:cs typeface="Asap"/>
              </a:defRPr>
            </a:lvl4pPr>
            <a:lvl5pPr>
              <a:defRPr sz="1200">
                <a:solidFill>
                  <a:srgbClr val="7F7F7F"/>
                </a:solidFill>
                <a:latin typeface="Asap"/>
                <a:cs typeface="Asap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6AF1FC72-7556-4EDC-ADD1-BBB6F8E732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0"/>
            <a:ext cx="6053070" cy="470079"/>
          </a:xfrm>
          <a:prstGeom prst="rect">
            <a:avLst/>
          </a:prstGeom>
        </p:spPr>
        <p:txBody>
          <a:bodyPr/>
          <a:lstStyle>
            <a:lvl1pPr algn="l">
              <a:defRPr sz="200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6DAF785-2120-408B-AF45-5333355C1867}"/>
              </a:ext>
            </a:extLst>
          </p:cNvPr>
          <p:cNvSpPr txBox="1"/>
          <p:nvPr userDrawn="1"/>
        </p:nvSpPr>
        <p:spPr>
          <a:xfrm>
            <a:off x="0" y="4889584"/>
            <a:ext cx="3512501" cy="253916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sap" panose="02000506040000020004" pitchFamily="2" charset="0"/>
              </a:rPr>
              <a:t>Copyright © 2018 </a:t>
            </a:r>
            <a:r>
              <a:rPr lang="en-US" sz="105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sap" panose="02000506040000020004" pitchFamily="2" charset="0"/>
              </a:rPr>
              <a:t>|</a:t>
            </a:r>
            <a:r>
              <a:rPr lang="en-US" sz="80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sap" panose="02000506040000020004" pitchFamily="2" charset="0"/>
              </a:rPr>
              <a:t> Wireless Broadband Alliance Ltd. All rights reserved  </a:t>
            </a:r>
          </a:p>
        </p:txBody>
      </p:sp>
    </p:spTree>
    <p:extLst>
      <p:ext uri="{BB962C8B-B14F-4D97-AF65-F5344CB8AC3E}">
        <p14:creationId xmlns:p14="http://schemas.microsoft.com/office/powerpoint/2010/main" val="4001471603"/>
      </p:ext>
    </p:extLst>
  </p:cSld>
  <p:clrMapOvr>
    <a:masterClrMapping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9D9186E-9740-478B-BE30-D87E425600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61509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1CBD4CA-0BE3-4719-B6C9-B172958EF0E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sap" panose="02000506040000020004" pitchFamily="2" charset="0"/>
              <a:ea typeface="ＭＳ Ｐゴシック" panose="020B0600070205080204" pitchFamily="34" charset="-128"/>
              <a:cs typeface="Arial" panose="020B0604020202020204" pitchFamily="34" charset="0"/>
              <a:sym typeface="Asap" panose="02000506040000020004" pitchFamily="2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57200" y="914400"/>
            <a:ext cx="4191000" cy="38719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latin typeface="Asap" panose="02000506040000020004" pitchFamily="2" charset="0"/>
              <a:cs typeface="Arial" panose="020B0604020202020204" pitchFamily="34" charset="0"/>
              <a:sym typeface="Asap" panose="02000506040000020004" pitchFamily="2" charset="0"/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085850"/>
            <a:ext cx="3886200" cy="32575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aseline="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  <a:lvl2pPr>
              <a:defRPr sz="160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2pPr>
            <a:lvl3pPr>
              <a:defRPr sz="140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3pPr>
            <a:lvl4pPr>
              <a:defRPr sz="120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4pPr>
            <a:lvl5pPr>
              <a:defRPr sz="120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11"/>
          </p:nvPr>
        </p:nvSpPr>
        <p:spPr>
          <a:xfrm>
            <a:off x="4953000" y="1085850"/>
            <a:ext cx="2514600" cy="21208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aseline="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27FB3A6-F61B-4881-8D09-7261EBD0DA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0"/>
            <a:ext cx="6053070" cy="470079"/>
          </a:xfrm>
          <a:prstGeom prst="rect">
            <a:avLst/>
          </a:prstGeom>
        </p:spPr>
        <p:txBody>
          <a:bodyPr/>
          <a:lstStyle>
            <a:lvl1pPr algn="l">
              <a:defRPr sz="200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46ED9A3-2D30-496D-9B32-5B121888FE54}"/>
              </a:ext>
            </a:extLst>
          </p:cNvPr>
          <p:cNvSpPr txBox="1"/>
          <p:nvPr userDrawn="1"/>
        </p:nvSpPr>
        <p:spPr>
          <a:xfrm>
            <a:off x="0" y="4889584"/>
            <a:ext cx="3512501" cy="253916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sap" panose="02000506040000020004" pitchFamily="2" charset="0"/>
              </a:rPr>
              <a:t>Copyright © 2018 </a:t>
            </a:r>
            <a:r>
              <a:rPr lang="en-US" sz="105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sap" panose="02000506040000020004" pitchFamily="2" charset="0"/>
              </a:rPr>
              <a:t>|</a:t>
            </a:r>
            <a:r>
              <a:rPr lang="en-US" sz="80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sap" panose="02000506040000020004" pitchFamily="2" charset="0"/>
              </a:rPr>
              <a:t> Wireless Broadband Alliance Ltd. All rights reserved  </a:t>
            </a:r>
          </a:p>
        </p:txBody>
      </p:sp>
    </p:spTree>
    <p:extLst>
      <p:ext uri="{BB962C8B-B14F-4D97-AF65-F5344CB8AC3E}">
        <p14:creationId xmlns:p14="http://schemas.microsoft.com/office/powerpoint/2010/main" val="5211927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image" Target="../media/image4.emf"/><Relationship Id="rId2" Type="http://schemas.openxmlformats.org/officeDocument/2006/relationships/slideLayout" Target="../slideLayouts/slideLayout16.xml"/><Relationship Id="rId16" Type="http://schemas.openxmlformats.org/officeDocument/2006/relationships/oleObject" Target="../embeddings/oleObject16.bin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tags" Target="../tags/tag28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vmlDrawing" Target="../drawings/vmlDrawing16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image" Target="../media/image4.emf"/><Relationship Id="rId2" Type="http://schemas.openxmlformats.org/officeDocument/2006/relationships/slideLayout" Target="../slideLayouts/slideLayout28.xml"/><Relationship Id="rId16" Type="http://schemas.openxmlformats.org/officeDocument/2006/relationships/oleObject" Target="../embeddings/oleObject29.bin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tags" Target="../tags/tag4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vmlDrawing" Target="../drawings/vmlDrawing29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54FE34A-D1D1-410C-8D82-690290677A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63858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18" imgW="346" imgH="346" progId="TCLayout.ActiveDocument.1">
                  <p:embed/>
                </p:oleObj>
              </mc:Choice>
              <mc:Fallback>
                <p:oleObj name="think-cell Slide" r:id="rId18" imgW="346" imgH="34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54FE34A-D1D1-410C-8D82-690290677A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Long Stripe.png"/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6982968" cy="46329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595739" y="69057"/>
            <a:ext cx="1186760" cy="335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29C6FE1-3945-4A10-87CD-A0CC5930891C}"/>
              </a:ext>
            </a:extLst>
          </p:cNvPr>
          <p:cNvSpPr txBox="1"/>
          <p:nvPr userDrawn="1"/>
        </p:nvSpPr>
        <p:spPr>
          <a:xfrm>
            <a:off x="53810" y="4881670"/>
            <a:ext cx="2637261" cy="230832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sap" panose="02000506040000020004" pitchFamily="2" charset="0"/>
              </a:rPr>
              <a:t>Copyright © 2022 </a:t>
            </a:r>
            <a:r>
              <a:rPr lang="en-US" sz="90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sap" panose="02000506040000020004" pitchFamily="2" charset="0"/>
              </a:rPr>
              <a:t>|</a:t>
            </a:r>
            <a:r>
              <a:rPr lang="en-US" sz="60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sap" panose="02000506040000020004" pitchFamily="2" charset="0"/>
              </a:rPr>
              <a:t> Wireless Broadband Alliance Ltd. All rights reserved  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12" r:id="rId1"/>
    <p:sldLayoutId id="2147483893" r:id="rId2"/>
    <p:sldLayoutId id="2147483895" r:id="rId3"/>
    <p:sldLayoutId id="2147483894" r:id="rId4"/>
    <p:sldLayoutId id="2147483896" r:id="rId5"/>
    <p:sldLayoutId id="2147483897" r:id="rId6"/>
    <p:sldLayoutId id="2147483898" r:id="rId7"/>
    <p:sldLayoutId id="2147483899" r:id="rId8"/>
    <p:sldLayoutId id="2147483904" r:id="rId9"/>
    <p:sldLayoutId id="2147483905" r:id="rId10"/>
    <p:sldLayoutId id="2147483906" r:id="rId11"/>
    <p:sldLayoutId id="2147483911" r:id="rId12"/>
    <p:sldLayoutId id="2147483913" r:id="rId13"/>
    <p:sldLayoutId id="2147483918" r:id="rId14"/>
  </p:sldLayoutIdLs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hf sldNum="0" hdr="0" ftr="0" dt="0"/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2400" b="1" kern="1200">
          <a:solidFill>
            <a:schemeClr val="bg1"/>
          </a:solidFill>
          <a:latin typeface="+mj-lt"/>
          <a:ea typeface="ＭＳ Ｐゴシック" charset="0"/>
          <a:cs typeface="ＭＳ Ｐゴシック" charset="0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Calibri" charset="0"/>
          <a:ea typeface="ＭＳ Ｐゴシック" charset="0"/>
          <a:cs typeface="ＭＳ Ｐゴシック" charset="0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Calibri" charset="0"/>
          <a:ea typeface="ＭＳ Ｐゴシック" charset="0"/>
          <a:cs typeface="ＭＳ Ｐゴシック" charset="0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Calibri" charset="0"/>
          <a:ea typeface="ＭＳ Ｐゴシック" charset="0"/>
          <a:cs typeface="ＭＳ Ｐゴシック" charset="0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Calibri" charset="0"/>
          <a:ea typeface="ＭＳ Ｐゴシック" charset="0"/>
          <a:cs typeface="ＭＳ Ｐゴシック" charset="0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Calibri" charset="0"/>
          <a:ea typeface="ＭＳ Ｐゴシック" charset="0"/>
          <a:cs typeface="ＭＳ Ｐゴシック" charset="0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Calibri" charset="0"/>
          <a:ea typeface="ＭＳ Ｐゴシック" charset="0"/>
          <a:cs typeface="ＭＳ Ｐゴシック" charset="0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Calibri" charset="0"/>
          <a:ea typeface="ＭＳ Ｐゴシック" charset="0"/>
          <a:cs typeface="ＭＳ Ｐゴシック" charset="0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Clr>
          <a:srgbClr val="83B737"/>
        </a:buClr>
        <a:buFont typeface="Arial" charset="0"/>
        <a:buChar char="•"/>
        <a:defRPr kern="1200">
          <a:solidFill>
            <a:srgbClr val="3C4A52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rgbClr val="3C4A52"/>
          </a:solidFill>
          <a:latin typeface="+mn-lt"/>
          <a:ea typeface="ＭＳ Ｐゴシック" charset="0"/>
          <a:cs typeface="+mn-cs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Clr>
          <a:srgbClr val="0C5FA2"/>
        </a:buClr>
        <a:buFont typeface="Arial" charset="0"/>
        <a:buChar char="•"/>
        <a:defRPr sz="1400" kern="1200">
          <a:solidFill>
            <a:srgbClr val="3C4A52"/>
          </a:solidFill>
          <a:latin typeface="+mn-lt"/>
          <a:ea typeface="ＭＳ Ｐゴシック" charset="0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200" kern="1200">
          <a:solidFill>
            <a:srgbClr val="3C4A52"/>
          </a:solidFill>
          <a:latin typeface="+mn-lt"/>
          <a:ea typeface="ＭＳ Ｐゴシック" charset="0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Clr>
          <a:srgbClr val="7F7F7F"/>
        </a:buClr>
        <a:buFont typeface="Arial" charset="0"/>
        <a:buChar char="•"/>
        <a:defRPr sz="1200" kern="1200">
          <a:solidFill>
            <a:srgbClr val="3C4A52"/>
          </a:solidFill>
          <a:latin typeface="+mn-lt"/>
          <a:ea typeface="ＭＳ Ｐゴシック" charset="0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8DA800E-D268-44CB-B1D7-7F78F55E46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78255632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8" name="think-cell Slide" r:id="rId16" imgW="451" imgH="450" progId="TCLayout.ActiveDocument.1">
                  <p:embed/>
                </p:oleObj>
              </mc:Choice>
              <mc:Fallback>
                <p:oleObj name="think-cell Slide" r:id="rId16" imgW="451" imgH="45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8DA800E-D268-44CB-B1D7-7F78F55E46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59598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1" r:id="rId1"/>
    <p:sldLayoutId id="2147483932" r:id="rId2"/>
    <p:sldLayoutId id="2147483933" r:id="rId3"/>
    <p:sldLayoutId id="2147483934" r:id="rId4"/>
    <p:sldLayoutId id="2147483935" r:id="rId5"/>
    <p:sldLayoutId id="2147483936" r:id="rId6"/>
    <p:sldLayoutId id="2147483937" r:id="rId7"/>
    <p:sldLayoutId id="2147483938" r:id="rId8"/>
    <p:sldLayoutId id="2147483939" r:id="rId9"/>
    <p:sldLayoutId id="2147483940" r:id="rId10"/>
    <p:sldLayoutId id="2147483941" r:id="rId11"/>
    <p:sldLayoutId id="2147483942" r:id="rId12"/>
  </p:sldLayoutIdLst>
  <p:txStyles>
    <p:titleStyle>
      <a:lvl1pPr algn="l" defTabSz="685817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4" indent="-171454" algn="l" defTabSz="685817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64" indent="-171454" algn="l" defTabSz="68581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71" indent="-171454" algn="l" defTabSz="68581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80" indent="-171454" algn="l" defTabSz="68581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89" indent="-171454" algn="l" defTabSz="68581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97" indent="-171454" algn="l" defTabSz="68581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906" indent="-171454" algn="l" defTabSz="68581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814" indent="-171454" algn="l" defTabSz="68581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724" indent="-171454" algn="l" defTabSz="68581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9" algn="l" defTabSz="6858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17" algn="l" defTabSz="6858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26" algn="l" defTabSz="6858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34" algn="l" defTabSz="6858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44" algn="l" defTabSz="6858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51" algn="l" defTabSz="6858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60" algn="l" defTabSz="6858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69" algn="l" defTabSz="6858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8DA800E-D268-44CB-B1D7-7F78F55E46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96782541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0" name="think-cell Slide" r:id="rId16" imgW="451" imgH="450" progId="TCLayout.ActiveDocument.1">
                  <p:embed/>
                </p:oleObj>
              </mc:Choice>
              <mc:Fallback>
                <p:oleObj name="think-cell Slide" r:id="rId16" imgW="451" imgH="45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8DA800E-D268-44CB-B1D7-7F78F55E46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197229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5" r:id="rId1"/>
    <p:sldLayoutId id="2147483946" r:id="rId2"/>
    <p:sldLayoutId id="2147483947" r:id="rId3"/>
    <p:sldLayoutId id="2147483948" r:id="rId4"/>
    <p:sldLayoutId id="2147483949" r:id="rId5"/>
    <p:sldLayoutId id="2147483950" r:id="rId6"/>
    <p:sldLayoutId id="2147483951" r:id="rId7"/>
    <p:sldLayoutId id="2147483952" r:id="rId8"/>
    <p:sldLayoutId id="2147483953" r:id="rId9"/>
    <p:sldLayoutId id="2147483954" r:id="rId10"/>
    <p:sldLayoutId id="2147483955" r:id="rId11"/>
    <p:sldLayoutId id="2147483956" r:id="rId12"/>
  </p:sldLayoutIdLst>
  <p:txStyles>
    <p:titleStyle>
      <a:lvl1pPr algn="l" defTabSz="685817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4" indent="-171454" algn="l" defTabSz="685817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64" indent="-171454" algn="l" defTabSz="68581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71" indent="-171454" algn="l" defTabSz="68581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80" indent="-171454" algn="l" defTabSz="68581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89" indent="-171454" algn="l" defTabSz="68581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97" indent="-171454" algn="l" defTabSz="68581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906" indent="-171454" algn="l" defTabSz="68581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814" indent="-171454" algn="l" defTabSz="68581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724" indent="-171454" algn="l" defTabSz="68581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9" algn="l" defTabSz="6858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17" algn="l" defTabSz="6858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26" algn="l" defTabSz="6858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34" algn="l" defTabSz="6858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44" algn="l" defTabSz="6858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51" algn="l" defTabSz="6858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60" algn="l" defTabSz="6858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69" algn="l" defTabSz="6858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4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2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18" Type="http://schemas.openxmlformats.org/officeDocument/2006/relationships/image" Target="../media/image27.png"/><Relationship Id="rId26" Type="http://schemas.openxmlformats.org/officeDocument/2006/relationships/image" Target="../media/image35.png"/><Relationship Id="rId3" Type="http://schemas.openxmlformats.org/officeDocument/2006/relationships/slideLayout" Target="../slideLayouts/slideLayout14.xml"/><Relationship Id="rId21" Type="http://schemas.openxmlformats.org/officeDocument/2006/relationships/image" Target="../media/image30.png"/><Relationship Id="rId34" Type="http://schemas.openxmlformats.org/officeDocument/2006/relationships/image" Target="../media/image43.png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17" Type="http://schemas.openxmlformats.org/officeDocument/2006/relationships/image" Target="../media/image26.png"/><Relationship Id="rId25" Type="http://schemas.openxmlformats.org/officeDocument/2006/relationships/image" Target="../media/image34.png"/><Relationship Id="rId33" Type="http://schemas.openxmlformats.org/officeDocument/2006/relationships/image" Target="../media/image42.jpeg"/><Relationship Id="rId2" Type="http://schemas.openxmlformats.org/officeDocument/2006/relationships/tags" Target="../tags/tag55.xml"/><Relationship Id="rId16" Type="http://schemas.openxmlformats.org/officeDocument/2006/relationships/image" Target="../media/image25.png"/><Relationship Id="rId20" Type="http://schemas.openxmlformats.org/officeDocument/2006/relationships/image" Target="../media/image29.png"/><Relationship Id="rId29" Type="http://schemas.openxmlformats.org/officeDocument/2006/relationships/image" Target="../media/image38.png"/><Relationship Id="rId1" Type="http://schemas.openxmlformats.org/officeDocument/2006/relationships/vmlDrawing" Target="../drawings/vmlDrawing43.vml"/><Relationship Id="rId6" Type="http://schemas.openxmlformats.org/officeDocument/2006/relationships/image" Target="../media/image9.emf"/><Relationship Id="rId11" Type="http://schemas.openxmlformats.org/officeDocument/2006/relationships/image" Target="../media/image20.png"/><Relationship Id="rId24" Type="http://schemas.openxmlformats.org/officeDocument/2006/relationships/image" Target="../media/image33.png"/><Relationship Id="rId32" Type="http://schemas.openxmlformats.org/officeDocument/2006/relationships/image" Target="../media/image41.png"/><Relationship Id="rId5" Type="http://schemas.openxmlformats.org/officeDocument/2006/relationships/oleObject" Target="../embeddings/oleObject43.bin"/><Relationship Id="rId15" Type="http://schemas.openxmlformats.org/officeDocument/2006/relationships/image" Target="../media/image24.png"/><Relationship Id="rId23" Type="http://schemas.openxmlformats.org/officeDocument/2006/relationships/image" Target="../media/image32.png"/><Relationship Id="rId28" Type="http://schemas.openxmlformats.org/officeDocument/2006/relationships/image" Target="../media/image37.png"/><Relationship Id="rId10" Type="http://schemas.openxmlformats.org/officeDocument/2006/relationships/image" Target="../media/image19.png"/><Relationship Id="rId19" Type="http://schemas.openxmlformats.org/officeDocument/2006/relationships/image" Target="../media/image28.png"/><Relationship Id="rId31" Type="http://schemas.openxmlformats.org/officeDocument/2006/relationships/image" Target="../media/image40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8.png"/><Relationship Id="rId14" Type="http://schemas.openxmlformats.org/officeDocument/2006/relationships/image" Target="../media/image23.png"/><Relationship Id="rId22" Type="http://schemas.openxmlformats.org/officeDocument/2006/relationships/image" Target="../media/image31.jpg"/><Relationship Id="rId27" Type="http://schemas.openxmlformats.org/officeDocument/2006/relationships/image" Target="../media/image36.png"/><Relationship Id="rId30" Type="http://schemas.openxmlformats.org/officeDocument/2006/relationships/image" Target="../media/image3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4.png"/><Relationship Id="rId2" Type="http://schemas.openxmlformats.org/officeDocument/2006/relationships/tags" Target="../tags/tag56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4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mailto:pmo@wballiance.com" TargetMode="External"/><Relationship Id="rId3" Type="http://schemas.openxmlformats.org/officeDocument/2006/relationships/slideLayout" Target="../slideLayouts/slideLayout13.xml"/><Relationship Id="rId7" Type="http://schemas.openxmlformats.org/officeDocument/2006/relationships/hyperlink" Target="http://extranet.wballiance.com/" TargetMode="External"/><Relationship Id="rId2" Type="http://schemas.openxmlformats.org/officeDocument/2006/relationships/tags" Target="../tags/tag57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45.bin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4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E07121F-E75C-4256-A572-5FFF0E84DF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2679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2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Posição de Conteúdo 2">
            <a:extLst>
              <a:ext uri="{FF2B5EF4-FFF2-40B4-BE49-F238E27FC236}">
                <a16:creationId xmlns:a16="http://schemas.microsoft.com/office/drawing/2014/main" id="{0EA0E62F-FDAD-4500-98D5-BACC9A75952D}"/>
              </a:ext>
            </a:extLst>
          </p:cNvPr>
          <p:cNvSpPr txBox="1">
            <a:spLocks/>
          </p:cNvSpPr>
          <p:nvPr/>
        </p:nvSpPr>
        <p:spPr>
          <a:xfrm>
            <a:off x="3401730" y="3671430"/>
            <a:ext cx="5511800" cy="496887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3B737"/>
              </a:buClr>
              <a:buFont typeface="Arial" charset="0"/>
              <a:buChar char="•"/>
              <a:defRPr kern="1200">
                <a:solidFill>
                  <a:srgbClr val="3C4A52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rgbClr val="3C4A52"/>
                </a:solidFill>
                <a:latin typeface="+mn-lt"/>
                <a:ea typeface="ＭＳ Ｐゴシック" charset="0"/>
                <a:cs typeface="+mn-cs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C5FA2"/>
              </a:buClr>
              <a:buFont typeface="Arial" charset="0"/>
              <a:buChar char="•"/>
              <a:defRPr sz="1400" kern="1200">
                <a:solidFill>
                  <a:srgbClr val="3C4A52"/>
                </a:solidFill>
                <a:latin typeface="+mn-lt"/>
                <a:ea typeface="ＭＳ Ｐゴシック" charset="0"/>
                <a:cs typeface="+mn-cs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rgbClr val="3C4A52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7F7F7F"/>
              </a:buClr>
              <a:buFont typeface="Arial" charset="0"/>
              <a:buChar char="•"/>
              <a:defRPr sz="1200" kern="1200">
                <a:solidFill>
                  <a:srgbClr val="3C4A52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GB" altLang="pt-PT" sz="2000" b="1" dirty="0">
                <a:solidFill>
                  <a:srgbClr val="063051"/>
                </a:solidFill>
                <a:latin typeface="Asap" panose="02000506040000020004" pitchFamily="2" charset="0"/>
                <a:ea typeface="ＭＳ Ｐゴシック" panose="020B0600070205080204" pitchFamily="34" charset="-128"/>
                <a:sym typeface="Asap" panose="02000506040000020004" pitchFamily="2" charset="0"/>
              </a:rPr>
              <a:t>WBA CTO Group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7B3CCE7-F5BD-402C-92B5-BBDF7B25C8A0}"/>
              </a:ext>
            </a:extLst>
          </p:cNvPr>
          <p:cNvSpPr txBox="1"/>
          <p:nvPr/>
        </p:nvSpPr>
        <p:spPr>
          <a:xfrm>
            <a:off x="5194935" y="4274843"/>
            <a:ext cx="37185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>
                <a:latin typeface="Asap" panose="02000506040000020004" pitchFamily="2" charset="0"/>
                <a:sym typeface="Asap" panose="02000506040000020004" pitchFamily="2" charset="0"/>
              </a:rPr>
              <a:t>Industry Partnerships Status</a:t>
            </a:r>
          </a:p>
        </p:txBody>
      </p:sp>
    </p:spTree>
    <p:extLst>
      <p:ext uri="{BB962C8B-B14F-4D97-AF65-F5344CB8AC3E}">
        <p14:creationId xmlns:p14="http://schemas.microsoft.com/office/powerpoint/2010/main" val="20954763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76117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8" name="think-cell Slide" r:id="rId5" imgW="540" imgH="541" progId="TCLayout.ActiveDocument.1">
                  <p:embed/>
                </p:oleObj>
              </mc:Choice>
              <mc:Fallback>
                <p:oleObj name="think-cell Slide" r:id="rId5" imgW="540" imgH="54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1" name="Shape 451"/>
          <p:cNvSpPr txBox="1">
            <a:spLocks noGrp="1"/>
          </p:cNvSpPr>
          <p:nvPr>
            <p:ph type="title"/>
          </p:nvPr>
        </p:nvSpPr>
        <p:spPr>
          <a:xfrm>
            <a:off x="237311" y="44585"/>
            <a:ext cx="6277873" cy="4023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lvl="0"/>
            <a:r>
              <a:rPr lang="en-US" sz="1800" b="1" dirty="0">
                <a:solidFill>
                  <a:schemeClr val="lt1"/>
                </a:solidFill>
              </a:rPr>
              <a:t>CTOG - WBA Industry Partnerships</a:t>
            </a:r>
            <a:endParaRPr sz="1200" dirty="0">
              <a:latin typeface="Asap" panose="02000506040000020004" pitchFamily="2" charset="0"/>
              <a:sym typeface="Asap" panose="02000506040000020004" pitchFamily="2" charset="0"/>
            </a:endParaRPr>
          </a:p>
        </p:txBody>
      </p:sp>
      <p:sp>
        <p:nvSpPr>
          <p:cNvPr id="452" name="Shape 452"/>
          <p:cNvSpPr/>
          <p:nvPr/>
        </p:nvSpPr>
        <p:spPr>
          <a:xfrm>
            <a:off x="1504949" y="3688386"/>
            <a:ext cx="7385992" cy="1153561"/>
          </a:xfrm>
          <a:prstGeom prst="rect">
            <a:avLst/>
          </a:prstGeom>
          <a:noFill/>
          <a:ln w="9525" cap="flat" cmpd="sng">
            <a:solidFill>
              <a:srgbClr val="7F7F7F"/>
            </a:solidFill>
            <a:prstDash val="dash"/>
            <a:round/>
            <a:headEnd type="none" w="sm" len="sm"/>
            <a:tailEnd type="none" w="sm" len="sm"/>
          </a:ln>
          <a:effectLst>
            <a:outerShdw blurRad="40000" dist="23000" dir="5400000" rotWithShape="0">
              <a:srgbClr val="000000">
                <a:alpha val="34901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sap" panose="02000506040000020004" pitchFamily="2" charset="0"/>
              <a:ea typeface="Asap"/>
              <a:cs typeface="Asap"/>
              <a:sym typeface="Asap" panose="02000506040000020004" pitchFamily="2" charset="0"/>
            </a:endParaRPr>
          </a:p>
        </p:txBody>
      </p:sp>
      <p:sp>
        <p:nvSpPr>
          <p:cNvPr id="453" name="Shape 453"/>
          <p:cNvSpPr txBox="1"/>
          <p:nvPr/>
        </p:nvSpPr>
        <p:spPr>
          <a:xfrm>
            <a:off x="223746" y="567937"/>
            <a:ext cx="5123738" cy="276999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b="1" i="0" u="none" strike="noStrike" cap="none" dirty="0">
                <a:solidFill>
                  <a:srgbClr val="000000"/>
                </a:solidFill>
                <a:latin typeface="Asap" panose="02000506040000020004" pitchFamily="2" charset="0"/>
                <a:ea typeface="Asap"/>
                <a:cs typeface="Asap"/>
                <a:sym typeface="Asap" panose="02000506040000020004" pitchFamily="2" charset="0"/>
              </a:rPr>
              <a:t>Collaboration agreements in place</a:t>
            </a:r>
            <a:endParaRPr sz="1200" b="1" i="0" u="none" strike="noStrike" cap="none" dirty="0">
              <a:solidFill>
                <a:srgbClr val="000000"/>
              </a:solidFill>
              <a:latin typeface="Asap" panose="02000506040000020004" pitchFamily="2" charset="0"/>
              <a:ea typeface="Asap"/>
              <a:cs typeface="Asap"/>
              <a:sym typeface="Asap" panose="02000506040000020004" pitchFamily="2" charset="0"/>
            </a:endParaRPr>
          </a:p>
        </p:txBody>
      </p:sp>
      <p:pic>
        <p:nvPicPr>
          <p:cNvPr id="454" name="Shape 454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413688" y="1122941"/>
            <a:ext cx="426198" cy="408650"/>
          </a:xfrm>
          <a:prstGeom prst="rect">
            <a:avLst/>
          </a:prstGeom>
          <a:noFill/>
          <a:ln>
            <a:noFill/>
          </a:ln>
        </p:spPr>
      </p:pic>
      <p:pic>
        <p:nvPicPr>
          <p:cNvPr id="455" name="Shape 455"/>
          <p:cNvPicPr preferRelativeResize="0"/>
          <p:nvPr/>
        </p:nvPicPr>
        <p:blipFill rotWithShape="1">
          <a:blip r:embed="rId8">
            <a:alphaModFix/>
          </a:blip>
          <a:srcRect l="20000" t="10280" r="19000" b="23808"/>
          <a:stretch/>
        </p:blipFill>
        <p:spPr>
          <a:xfrm>
            <a:off x="2458546" y="1055668"/>
            <a:ext cx="744619" cy="425255"/>
          </a:xfrm>
          <a:prstGeom prst="rect">
            <a:avLst/>
          </a:prstGeom>
          <a:noFill/>
          <a:ln>
            <a:noFill/>
          </a:ln>
        </p:spPr>
      </p:pic>
      <p:pic>
        <p:nvPicPr>
          <p:cNvPr id="456" name="Shape 456"/>
          <p:cNvPicPr preferRelativeResize="0"/>
          <p:nvPr/>
        </p:nvPicPr>
        <p:blipFill rotWithShape="1">
          <a:blip r:embed="rId9">
            <a:alphaModFix/>
          </a:blip>
          <a:srcRect t="26667" b="36666"/>
          <a:stretch/>
        </p:blipFill>
        <p:spPr>
          <a:xfrm>
            <a:off x="359097" y="1746102"/>
            <a:ext cx="1267952" cy="297183"/>
          </a:xfrm>
          <a:prstGeom prst="rect">
            <a:avLst/>
          </a:prstGeom>
          <a:noFill/>
          <a:ln>
            <a:noFill/>
          </a:ln>
        </p:spPr>
      </p:pic>
      <p:pic>
        <p:nvPicPr>
          <p:cNvPr id="457" name="Shape 457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956148" y="1060419"/>
            <a:ext cx="608431" cy="472538"/>
          </a:xfrm>
          <a:prstGeom prst="rect">
            <a:avLst/>
          </a:prstGeom>
          <a:noFill/>
          <a:ln>
            <a:noFill/>
          </a:ln>
        </p:spPr>
      </p:pic>
      <p:pic>
        <p:nvPicPr>
          <p:cNvPr id="458" name="Shape 458"/>
          <p:cNvPicPr preferRelativeResize="0"/>
          <p:nvPr/>
        </p:nvPicPr>
        <p:blipFill rotWithShape="1">
          <a:blip r:embed="rId11">
            <a:alphaModFix/>
          </a:blip>
          <a:srcRect/>
          <a:stretch/>
        </p:blipFill>
        <p:spPr>
          <a:xfrm>
            <a:off x="1619309" y="1516591"/>
            <a:ext cx="745358" cy="645020"/>
          </a:xfrm>
          <a:prstGeom prst="rect">
            <a:avLst/>
          </a:prstGeom>
          <a:noFill/>
          <a:ln>
            <a:noFill/>
          </a:ln>
        </p:spPr>
      </p:pic>
      <p:pic>
        <p:nvPicPr>
          <p:cNvPr id="459" name="Shape 459"/>
          <p:cNvPicPr preferRelativeResize="0"/>
          <p:nvPr/>
        </p:nvPicPr>
        <p:blipFill rotWithShape="1">
          <a:blip r:embed="rId12">
            <a:alphaModFix/>
          </a:blip>
          <a:srcRect l="27864" t="33142" r="26302" b="32376"/>
          <a:stretch/>
        </p:blipFill>
        <p:spPr>
          <a:xfrm>
            <a:off x="3287657" y="1060419"/>
            <a:ext cx="861678" cy="422488"/>
          </a:xfrm>
          <a:prstGeom prst="rect">
            <a:avLst/>
          </a:prstGeom>
          <a:noFill/>
          <a:ln>
            <a:noFill/>
          </a:ln>
        </p:spPr>
      </p:pic>
      <p:pic>
        <p:nvPicPr>
          <p:cNvPr id="460" name="Shape 460"/>
          <p:cNvPicPr preferRelativeResize="0"/>
          <p:nvPr/>
        </p:nvPicPr>
        <p:blipFill rotWithShape="1">
          <a:blip r:embed="rId13">
            <a:alphaModFix/>
          </a:blip>
          <a:srcRect/>
          <a:stretch/>
        </p:blipFill>
        <p:spPr>
          <a:xfrm>
            <a:off x="1680841" y="1113461"/>
            <a:ext cx="636228" cy="355344"/>
          </a:xfrm>
          <a:prstGeom prst="rect">
            <a:avLst/>
          </a:prstGeom>
          <a:noFill/>
          <a:ln>
            <a:noFill/>
          </a:ln>
        </p:spPr>
      </p:pic>
      <p:sp>
        <p:nvSpPr>
          <p:cNvPr id="461" name="Shape 461"/>
          <p:cNvSpPr/>
          <p:nvPr/>
        </p:nvSpPr>
        <p:spPr>
          <a:xfrm>
            <a:off x="223745" y="867971"/>
            <a:ext cx="5123739" cy="2415236"/>
          </a:xfrm>
          <a:prstGeom prst="rect">
            <a:avLst/>
          </a:prstGeom>
          <a:noFill/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  <a:effectLst>
            <a:outerShdw blurRad="40000" dist="23000" dir="5400000" rotWithShape="0">
              <a:srgbClr val="000000">
                <a:alpha val="34901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sap" panose="02000506040000020004" pitchFamily="2" charset="0"/>
              <a:ea typeface="Asap"/>
              <a:cs typeface="Asap"/>
              <a:sym typeface="Asap" panose="02000506040000020004" pitchFamily="2" charset="0"/>
            </a:endParaRPr>
          </a:p>
        </p:txBody>
      </p:sp>
      <p:pic>
        <p:nvPicPr>
          <p:cNvPr id="462" name="Shape 462"/>
          <p:cNvPicPr preferRelativeResize="0"/>
          <p:nvPr/>
        </p:nvPicPr>
        <p:blipFill rotWithShape="1">
          <a:blip r:embed="rId14">
            <a:alphaModFix/>
          </a:blip>
          <a:srcRect/>
          <a:stretch/>
        </p:blipFill>
        <p:spPr>
          <a:xfrm>
            <a:off x="2425817" y="1724769"/>
            <a:ext cx="861840" cy="244951"/>
          </a:xfrm>
          <a:prstGeom prst="rect">
            <a:avLst/>
          </a:prstGeom>
          <a:noFill/>
          <a:ln>
            <a:noFill/>
          </a:ln>
        </p:spPr>
      </p:pic>
      <p:pic>
        <p:nvPicPr>
          <p:cNvPr id="463" name="Shape 463"/>
          <p:cNvPicPr preferRelativeResize="0"/>
          <p:nvPr/>
        </p:nvPicPr>
        <p:blipFill rotWithShape="1">
          <a:blip r:embed="rId15">
            <a:alphaModFix/>
          </a:blip>
          <a:srcRect/>
          <a:stretch/>
        </p:blipFill>
        <p:spPr>
          <a:xfrm>
            <a:off x="400685" y="2285824"/>
            <a:ext cx="1184775" cy="259418"/>
          </a:xfrm>
          <a:prstGeom prst="rect">
            <a:avLst/>
          </a:prstGeom>
          <a:noFill/>
          <a:ln>
            <a:noFill/>
          </a:ln>
        </p:spPr>
      </p:pic>
      <p:pic>
        <p:nvPicPr>
          <p:cNvPr id="464" name="Shape 464"/>
          <p:cNvPicPr preferRelativeResize="0"/>
          <p:nvPr/>
        </p:nvPicPr>
        <p:blipFill rotWithShape="1">
          <a:blip r:embed="rId16">
            <a:alphaModFix/>
          </a:blip>
          <a:srcRect/>
          <a:stretch/>
        </p:blipFill>
        <p:spPr>
          <a:xfrm>
            <a:off x="392527" y="2702956"/>
            <a:ext cx="1602882" cy="358120"/>
          </a:xfrm>
          <a:prstGeom prst="rect">
            <a:avLst/>
          </a:prstGeom>
          <a:noFill/>
          <a:ln>
            <a:noFill/>
          </a:ln>
        </p:spPr>
      </p:pic>
      <p:pic>
        <p:nvPicPr>
          <p:cNvPr id="465" name="Shape 465"/>
          <p:cNvPicPr preferRelativeResize="0"/>
          <p:nvPr/>
        </p:nvPicPr>
        <p:blipFill rotWithShape="1">
          <a:blip r:embed="rId17">
            <a:alphaModFix/>
          </a:blip>
          <a:srcRect/>
          <a:stretch/>
        </p:blipFill>
        <p:spPr>
          <a:xfrm>
            <a:off x="4189507" y="1075196"/>
            <a:ext cx="804530" cy="345934"/>
          </a:xfrm>
          <a:prstGeom prst="rect">
            <a:avLst/>
          </a:prstGeom>
          <a:noFill/>
          <a:ln>
            <a:noFill/>
          </a:ln>
        </p:spPr>
      </p:pic>
      <p:pic>
        <p:nvPicPr>
          <p:cNvPr id="466" name="Shape 466"/>
          <p:cNvPicPr preferRelativeResize="0"/>
          <p:nvPr/>
        </p:nvPicPr>
        <p:blipFill rotWithShape="1">
          <a:blip r:embed="rId18">
            <a:alphaModFix/>
          </a:blip>
          <a:srcRect/>
          <a:stretch/>
        </p:blipFill>
        <p:spPr>
          <a:xfrm>
            <a:off x="4241705" y="1710799"/>
            <a:ext cx="703133" cy="252819"/>
          </a:xfrm>
          <a:prstGeom prst="rect">
            <a:avLst/>
          </a:prstGeom>
          <a:noFill/>
          <a:ln>
            <a:noFill/>
          </a:ln>
        </p:spPr>
      </p:pic>
      <p:pic>
        <p:nvPicPr>
          <p:cNvPr id="467" name="Shape 467"/>
          <p:cNvPicPr preferRelativeResize="0"/>
          <p:nvPr/>
        </p:nvPicPr>
        <p:blipFill rotWithShape="1">
          <a:blip r:embed="rId19">
            <a:alphaModFix/>
          </a:blip>
          <a:srcRect/>
          <a:stretch/>
        </p:blipFill>
        <p:spPr>
          <a:xfrm>
            <a:off x="3413777" y="1570330"/>
            <a:ext cx="572539" cy="572539"/>
          </a:xfrm>
          <a:prstGeom prst="rect">
            <a:avLst/>
          </a:prstGeom>
          <a:noFill/>
          <a:ln>
            <a:noFill/>
          </a:ln>
        </p:spPr>
      </p:pic>
      <p:pic>
        <p:nvPicPr>
          <p:cNvPr id="468" name="Shape 468"/>
          <p:cNvPicPr preferRelativeResize="0"/>
          <p:nvPr/>
        </p:nvPicPr>
        <p:blipFill rotWithShape="1">
          <a:blip r:embed="rId20">
            <a:alphaModFix/>
          </a:blip>
          <a:srcRect/>
          <a:stretch/>
        </p:blipFill>
        <p:spPr>
          <a:xfrm>
            <a:off x="1787886" y="2271133"/>
            <a:ext cx="1275862" cy="285320"/>
          </a:xfrm>
          <a:prstGeom prst="rect">
            <a:avLst/>
          </a:prstGeom>
          <a:noFill/>
          <a:ln>
            <a:noFill/>
          </a:ln>
        </p:spPr>
      </p:pic>
      <p:pic>
        <p:nvPicPr>
          <p:cNvPr id="469" name="Shape 469"/>
          <p:cNvPicPr preferRelativeResize="0"/>
          <p:nvPr/>
        </p:nvPicPr>
        <p:blipFill rotWithShape="1">
          <a:blip r:embed="rId21">
            <a:alphaModFix/>
          </a:blip>
          <a:srcRect/>
          <a:stretch/>
        </p:blipFill>
        <p:spPr>
          <a:xfrm>
            <a:off x="3289489" y="2220087"/>
            <a:ext cx="662490" cy="393852"/>
          </a:xfrm>
          <a:prstGeom prst="rect">
            <a:avLst/>
          </a:prstGeom>
          <a:noFill/>
          <a:ln>
            <a:noFill/>
          </a:ln>
        </p:spPr>
      </p:pic>
      <p:pic>
        <p:nvPicPr>
          <p:cNvPr id="470" name="Shape 470" descr="Image result"/>
          <p:cNvPicPr preferRelativeResize="0"/>
          <p:nvPr/>
        </p:nvPicPr>
        <p:blipFill rotWithShape="1">
          <a:blip r:embed="rId22">
            <a:alphaModFix/>
          </a:blip>
          <a:srcRect/>
          <a:stretch/>
        </p:blipFill>
        <p:spPr>
          <a:xfrm>
            <a:off x="4078099" y="2066376"/>
            <a:ext cx="1134846" cy="601962"/>
          </a:xfrm>
          <a:prstGeom prst="rect">
            <a:avLst/>
          </a:prstGeom>
          <a:noFill/>
          <a:ln>
            <a:noFill/>
          </a:ln>
        </p:spPr>
      </p:pic>
      <p:pic>
        <p:nvPicPr>
          <p:cNvPr id="471" name="Shape 471"/>
          <p:cNvPicPr preferRelativeResize="0"/>
          <p:nvPr/>
        </p:nvPicPr>
        <p:blipFill rotWithShape="1">
          <a:blip r:embed="rId23">
            <a:alphaModFix/>
          </a:blip>
          <a:srcRect/>
          <a:stretch/>
        </p:blipFill>
        <p:spPr>
          <a:xfrm>
            <a:off x="2193275" y="2683541"/>
            <a:ext cx="835497" cy="472578"/>
          </a:xfrm>
          <a:prstGeom prst="rect">
            <a:avLst/>
          </a:prstGeom>
          <a:noFill/>
          <a:ln>
            <a:noFill/>
          </a:ln>
        </p:spPr>
      </p:pic>
      <p:sp>
        <p:nvSpPr>
          <p:cNvPr id="472" name="Shape 472"/>
          <p:cNvSpPr txBox="1"/>
          <p:nvPr/>
        </p:nvSpPr>
        <p:spPr>
          <a:xfrm>
            <a:off x="1504950" y="3385965"/>
            <a:ext cx="7385990" cy="276999"/>
          </a:xfrm>
          <a:prstGeom prst="rect">
            <a:avLst/>
          </a:prstGeom>
          <a:solidFill>
            <a:srgbClr val="D8D8D8"/>
          </a:solidFill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b="1" i="0" u="none" strike="noStrike" cap="none" dirty="0">
                <a:solidFill>
                  <a:srgbClr val="000000"/>
                </a:solidFill>
                <a:latin typeface="Asap" panose="02000506040000020004" pitchFamily="2" charset="0"/>
                <a:ea typeface="Asap"/>
                <a:cs typeface="Asap"/>
                <a:sym typeface="Asap" panose="02000506040000020004" pitchFamily="2" charset="0"/>
              </a:rPr>
              <a:t>Partnerships / Liaison relationships being assessed</a:t>
            </a:r>
            <a:endParaRPr sz="1200" b="1" i="0" u="none" strike="noStrike" cap="none" dirty="0">
              <a:solidFill>
                <a:srgbClr val="000000"/>
              </a:solidFill>
              <a:latin typeface="Asap" panose="02000506040000020004" pitchFamily="2" charset="0"/>
              <a:ea typeface="Asap"/>
              <a:cs typeface="Asap"/>
              <a:sym typeface="Asap" panose="02000506040000020004" pitchFamily="2" charset="0"/>
            </a:endParaRPr>
          </a:p>
        </p:txBody>
      </p:sp>
      <p:sp>
        <p:nvSpPr>
          <p:cNvPr id="482" name="Shape 482"/>
          <p:cNvSpPr txBox="1"/>
          <p:nvPr/>
        </p:nvSpPr>
        <p:spPr>
          <a:xfrm>
            <a:off x="221988" y="3385965"/>
            <a:ext cx="1210012" cy="1455982"/>
          </a:xfrm>
          <a:prstGeom prst="rect">
            <a:avLst/>
          </a:prstGeom>
          <a:gradFill>
            <a:gsLst>
              <a:gs pos="0">
                <a:srgbClr val="B1B8CA"/>
              </a:gs>
              <a:gs pos="35000">
                <a:srgbClr val="CACDD8"/>
              </a:gs>
              <a:gs pos="100000">
                <a:srgbClr val="EAEAF1"/>
              </a:gs>
            </a:gsLst>
            <a:lin ang="16200000" scaled="0"/>
          </a:gradFill>
          <a:ln>
            <a:noFill/>
          </a:ln>
          <a:effectLst>
            <a:outerShdw blurRad="40000" dist="20000" dir="5400000" rotWithShape="0">
              <a:srgbClr val="000000">
                <a:alpha val="37647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lvl="0" algn="ctr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000510"/>
                </a:solidFill>
                <a:latin typeface="Asap" panose="02000506040000020004" pitchFamily="2" charset="0"/>
                <a:sym typeface="Asap" panose="02000506040000020004" pitchFamily="2" charset="0"/>
              </a:rPr>
              <a:t>WBA Industry Partnerships Dashboard</a:t>
            </a:r>
            <a:endParaRPr sz="1400" b="1" i="0" u="none" strike="noStrike" cap="none" dirty="0">
              <a:solidFill>
                <a:srgbClr val="000510"/>
              </a:solidFill>
              <a:latin typeface="Asap" panose="02000506040000020004" pitchFamily="2" charset="0"/>
              <a:ea typeface="Asap"/>
              <a:cs typeface="Asap"/>
              <a:sym typeface="Asap" panose="02000506040000020004" pitchFamily="2" charset="0"/>
            </a:endParaRPr>
          </a:p>
        </p:txBody>
      </p:sp>
      <p:sp>
        <p:nvSpPr>
          <p:cNvPr id="483" name="Shape 483"/>
          <p:cNvSpPr/>
          <p:nvPr/>
        </p:nvSpPr>
        <p:spPr>
          <a:xfrm>
            <a:off x="5463745" y="867971"/>
            <a:ext cx="3427195" cy="2415236"/>
          </a:xfrm>
          <a:prstGeom prst="rect">
            <a:avLst/>
          </a:prstGeom>
          <a:noFill/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  <a:effectLst>
            <a:outerShdw blurRad="40000" dist="23000" dir="5400000" rotWithShape="0">
              <a:srgbClr val="000000">
                <a:alpha val="34901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sap" panose="02000506040000020004" pitchFamily="2" charset="0"/>
              <a:ea typeface="Asap"/>
              <a:cs typeface="Asap"/>
              <a:sym typeface="Asap" panose="02000506040000020004" pitchFamily="2" charset="0"/>
            </a:endParaRPr>
          </a:p>
        </p:txBody>
      </p:sp>
      <p:pic>
        <p:nvPicPr>
          <p:cNvPr id="41" name="Shape 476">
            <a:extLst>
              <a:ext uri="{FF2B5EF4-FFF2-40B4-BE49-F238E27FC236}">
                <a16:creationId xmlns:a16="http://schemas.microsoft.com/office/drawing/2014/main" id="{00E8C172-B133-40B1-9A24-3954F5606E46}"/>
              </a:ext>
            </a:extLst>
          </p:cNvPr>
          <p:cNvPicPr preferRelativeResize="0"/>
          <p:nvPr/>
        </p:nvPicPr>
        <p:blipFill rotWithShape="1">
          <a:blip r:embed="rId24">
            <a:alphaModFix/>
          </a:blip>
          <a:srcRect/>
          <a:stretch/>
        </p:blipFill>
        <p:spPr>
          <a:xfrm>
            <a:off x="7070562" y="1153080"/>
            <a:ext cx="1529049" cy="306158"/>
          </a:xfrm>
          <a:prstGeom prst="rect">
            <a:avLst/>
          </a:prstGeom>
          <a:noFill/>
          <a:ln>
            <a:noFill/>
          </a:ln>
        </p:spPr>
      </p:pic>
      <p:pic>
        <p:nvPicPr>
          <p:cNvPr id="42" name="Shape 478">
            <a:extLst>
              <a:ext uri="{FF2B5EF4-FFF2-40B4-BE49-F238E27FC236}">
                <a16:creationId xmlns:a16="http://schemas.microsoft.com/office/drawing/2014/main" id="{C3E4F305-7666-40B2-A010-BF7509F3BADE}"/>
              </a:ext>
            </a:extLst>
          </p:cNvPr>
          <p:cNvPicPr preferRelativeResize="0"/>
          <p:nvPr/>
        </p:nvPicPr>
        <p:blipFill rotWithShape="1">
          <a:blip r:embed="rId25">
            <a:alphaModFix/>
          </a:blip>
          <a:srcRect l="4754" t="74712" r="65556" b="-1944"/>
          <a:stretch/>
        </p:blipFill>
        <p:spPr>
          <a:xfrm>
            <a:off x="5792845" y="1075111"/>
            <a:ext cx="822709" cy="462096"/>
          </a:xfrm>
          <a:prstGeom prst="rect">
            <a:avLst/>
          </a:prstGeom>
          <a:noFill/>
          <a:ln>
            <a:noFill/>
          </a:ln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74AF47A5-81C4-4A5F-B422-965BC380D8A1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6021832" y="2395164"/>
            <a:ext cx="880840" cy="677108"/>
          </a:xfrm>
          <a:prstGeom prst="rect">
            <a:avLst/>
          </a:prstGeom>
        </p:spPr>
      </p:pic>
      <p:pic>
        <p:nvPicPr>
          <p:cNvPr id="46" name="Picture 4" descr="Resultado de imagem para seamless air alliance logo">
            <a:extLst>
              <a:ext uri="{FF2B5EF4-FFF2-40B4-BE49-F238E27FC236}">
                <a16:creationId xmlns:a16="http://schemas.microsoft.com/office/drawing/2014/main" id="{6D9175E0-59A3-447A-91C6-92E85FDC4E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6560" y="2433546"/>
            <a:ext cx="870063" cy="600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645FD9B-624C-4180-9347-658E0CEC81E9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7661764" y="1739922"/>
            <a:ext cx="1049965" cy="429018"/>
          </a:xfrm>
          <a:prstGeom prst="rect">
            <a:avLst/>
          </a:prstGeom>
        </p:spPr>
      </p:pic>
      <p:pic>
        <p:nvPicPr>
          <p:cNvPr id="109587" name="Picture 19" descr="Automotive Edge Computing Consortium Logo">
            <a:extLst>
              <a:ext uri="{FF2B5EF4-FFF2-40B4-BE49-F238E27FC236}">
                <a16:creationId xmlns:a16="http://schemas.microsoft.com/office/drawing/2014/main" id="{D6F9517C-0A36-49F2-94CA-70A27D4862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9181" y="1831348"/>
            <a:ext cx="736322" cy="311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0B766BB-9A20-4CB9-8AE8-7147F31BF771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4121086" y="2822202"/>
            <a:ext cx="1157777" cy="263559"/>
          </a:xfrm>
          <a:prstGeom prst="rect">
            <a:avLst/>
          </a:prstGeom>
        </p:spPr>
      </p:pic>
      <p:pic>
        <p:nvPicPr>
          <p:cNvPr id="43" name="Shape 475">
            <a:extLst>
              <a:ext uri="{FF2B5EF4-FFF2-40B4-BE49-F238E27FC236}">
                <a16:creationId xmlns:a16="http://schemas.microsoft.com/office/drawing/2014/main" id="{00DD762D-A55B-4C5A-A3EE-37AA55D2A65F}"/>
              </a:ext>
            </a:extLst>
          </p:cNvPr>
          <p:cNvPicPr preferRelativeResize="0"/>
          <p:nvPr/>
        </p:nvPicPr>
        <p:blipFill rotWithShape="1">
          <a:blip r:embed="rId31">
            <a:alphaModFix/>
          </a:blip>
          <a:srcRect t="31102" b="26232"/>
          <a:stretch/>
        </p:blipFill>
        <p:spPr>
          <a:xfrm>
            <a:off x="5674090" y="1763491"/>
            <a:ext cx="941011" cy="401498"/>
          </a:xfrm>
          <a:prstGeom prst="rect">
            <a:avLst/>
          </a:prstGeom>
          <a:noFill/>
          <a:ln>
            <a:noFill/>
          </a:ln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82D92F62-0885-43E3-913B-E51C7F78612C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3368801" y="2780074"/>
            <a:ext cx="662490" cy="323542"/>
          </a:xfrm>
          <a:prstGeom prst="rect">
            <a:avLst/>
          </a:prstGeom>
        </p:spPr>
      </p:pic>
      <p:sp>
        <p:nvSpPr>
          <p:cNvPr id="47" name="Shape 453">
            <a:extLst>
              <a:ext uri="{FF2B5EF4-FFF2-40B4-BE49-F238E27FC236}">
                <a16:creationId xmlns:a16="http://schemas.microsoft.com/office/drawing/2014/main" id="{7CBA5116-3547-4DCE-BF2D-218286685799}"/>
              </a:ext>
            </a:extLst>
          </p:cNvPr>
          <p:cNvSpPr txBox="1"/>
          <p:nvPr/>
        </p:nvSpPr>
        <p:spPr>
          <a:xfrm>
            <a:off x="5463745" y="567937"/>
            <a:ext cx="3436758" cy="276999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 sz="1200" b="1" dirty="0">
                <a:latin typeface="Asap" panose="02000506040000020004" pitchFamily="2" charset="0"/>
                <a:ea typeface="Asap"/>
                <a:cs typeface="Asap"/>
                <a:sym typeface="Asap" panose="02000506040000020004" pitchFamily="2" charset="0"/>
              </a:rPr>
              <a:t>Active Liaison Relationship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8A5861F-B528-40F9-88CD-60A082632F4B}"/>
              </a:ext>
            </a:extLst>
          </p:cNvPr>
          <p:cNvSpPr txBox="1"/>
          <p:nvPr/>
        </p:nvSpPr>
        <p:spPr>
          <a:xfrm>
            <a:off x="2593673" y="4301701"/>
            <a:ext cx="275381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dirty="0">
                <a:latin typeface="Asap" panose="02000506040000020004" pitchFamily="2" charset="0"/>
              </a:rPr>
              <a:t>Letter of Understanding (</a:t>
            </a:r>
            <a:r>
              <a:rPr lang="en-US" sz="1050" dirty="0" err="1">
                <a:latin typeface="Asap" panose="02000506040000020004" pitchFamily="2" charset="0"/>
              </a:rPr>
              <a:t>LoU</a:t>
            </a:r>
            <a:r>
              <a:rPr lang="en-US" sz="1050" dirty="0">
                <a:latin typeface="Asap" panose="02000506040000020004" pitchFamily="2" charset="0"/>
              </a:rPr>
              <a:t>) cooperation between the CEPT and WBA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429448AA-30FF-4F68-9B73-ABC8C29B20BE}"/>
              </a:ext>
            </a:extLst>
          </p:cNvPr>
          <p:cNvSpPr txBox="1"/>
          <p:nvPr/>
        </p:nvSpPr>
        <p:spPr>
          <a:xfrm>
            <a:off x="5867661" y="4366124"/>
            <a:ext cx="275381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dirty="0">
                <a:latin typeface="Asap" panose="02000506040000020004" pitchFamily="2" charset="0"/>
              </a:rPr>
              <a:t>Collaboration with the Global enabling Sustainability Initiative (</a:t>
            </a:r>
            <a:r>
              <a:rPr lang="en-US" sz="1050" dirty="0" err="1">
                <a:latin typeface="Asap" panose="02000506040000020004" pitchFamily="2" charset="0"/>
              </a:rPr>
              <a:t>GeSI</a:t>
            </a:r>
            <a:r>
              <a:rPr lang="en-US" sz="1050" dirty="0">
                <a:latin typeface="Asap" panose="02000506040000020004" pitchFamily="2" charset="0"/>
              </a:rPr>
              <a:t>)</a:t>
            </a:r>
          </a:p>
        </p:txBody>
      </p:sp>
      <p:pic>
        <p:nvPicPr>
          <p:cNvPr id="44037" name="Picture 5">
            <a:extLst>
              <a:ext uri="{FF2B5EF4-FFF2-40B4-BE49-F238E27FC236}">
                <a16:creationId xmlns:a16="http://schemas.microsoft.com/office/drawing/2014/main" id="{7996AC83-F2AA-4A83-A886-B930FF33BC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0841" y="3815790"/>
            <a:ext cx="813074" cy="8267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CF411357-9BCC-4547-A77A-E2284B88A167}"/>
              </a:ext>
            </a:extLst>
          </p:cNvPr>
          <p:cNvSpPr txBox="1"/>
          <p:nvPr/>
        </p:nvSpPr>
        <p:spPr>
          <a:xfrm>
            <a:off x="2623948" y="3814614"/>
            <a:ext cx="295931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1" i="1" dirty="0">
                <a:latin typeface="Asap" panose="02000506040000020004" pitchFamily="2" charset="0"/>
              </a:rPr>
              <a:t>The European Conference of Postal and Telecommunications Administration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211F871-86E7-4026-B57C-7366BADF0903}"/>
              </a:ext>
            </a:extLst>
          </p:cNvPr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6235221" y="3757811"/>
            <a:ext cx="2202678" cy="575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26186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Object 55" hidden="1">
            <a:extLst>
              <a:ext uri="{FF2B5EF4-FFF2-40B4-BE49-F238E27FC236}">
                <a16:creationId xmlns:a16="http://schemas.microsoft.com/office/drawing/2014/main" id="{8A0A7030-32CA-4B90-8245-D1FB4C5DEB2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20626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0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71056C2C-E953-4295-B8C1-4CF96A2A3136}"/>
              </a:ext>
            </a:extLst>
          </p:cNvPr>
          <p:cNvSpPr txBox="1">
            <a:spLocks/>
          </p:cNvSpPr>
          <p:nvPr/>
        </p:nvSpPr>
        <p:spPr>
          <a:xfrm>
            <a:off x="55797" y="63651"/>
            <a:ext cx="6644283" cy="421756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3B737"/>
              </a:buClr>
              <a:buFont typeface="Arial" charset="0"/>
              <a:buChar char="•"/>
              <a:defRPr kern="1200">
                <a:solidFill>
                  <a:srgbClr val="3C4A52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rgbClr val="3C4A52"/>
                </a:solidFill>
                <a:latin typeface="+mn-lt"/>
                <a:ea typeface="ＭＳ Ｐゴシック" charset="0"/>
                <a:cs typeface="+mn-cs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C5FA2"/>
              </a:buClr>
              <a:buFont typeface="Arial" charset="0"/>
              <a:buChar char="•"/>
              <a:defRPr sz="1400" kern="1200">
                <a:solidFill>
                  <a:srgbClr val="3C4A52"/>
                </a:solidFill>
                <a:latin typeface="+mn-lt"/>
                <a:ea typeface="ＭＳ Ｐゴシック" charset="0"/>
                <a:cs typeface="+mn-cs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rgbClr val="3C4A52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7F7F7F"/>
              </a:buClr>
              <a:buFont typeface="Arial" charset="0"/>
              <a:buChar char="•"/>
              <a:defRPr sz="1200" kern="1200">
                <a:solidFill>
                  <a:srgbClr val="3C4A52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b="1" dirty="0">
                <a:solidFill>
                  <a:srgbClr val="FFFFFF"/>
                </a:solidFill>
                <a:latin typeface="Asap" panose="02000506040000020004" pitchFamily="2" charset="0"/>
                <a:sym typeface="Asap" panose="02000506040000020004" pitchFamily="2" charset="0"/>
              </a:rPr>
              <a:t>CTOG: WBA Roadmap Development &amp; Alignment with Industry Bodi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5716449-0C23-44C0-99FC-FF61A41DB92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5100"/>
          <a:stretch/>
        </p:blipFill>
        <p:spPr>
          <a:xfrm>
            <a:off x="142875" y="704850"/>
            <a:ext cx="8858250" cy="3977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09827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60700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4" name="think-cell Slide" r:id="rId5" imgW="540" imgH="541" progId="TCLayout.ActiveDocument.1">
                  <p:embed/>
                </p:oleObj>
              </mc:Choice>
              <mc:Fallback>
                <p:oleObj name="think-cell Slide" r:id="rId5" imgW="540" imgH="54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2"/>
          <p:cNvSpPr txBox="1">
            <a:spLocks/>
          </p:cNvSpPr>
          <p:nvPr/>
        </p:nvSpPr>
        <p:spPr>
          <a:xfrm>
            <a:off x="600502" y="40616"/>
            <a:ext cx="5927741" cy="372317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0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3B737"/>
              </a:buClr>
              <a:buFont typeface="Arial" charset="0"/>
              <a:buNone/>
              <a:defRPr sz="2000" b="1" kern="1200" baseline="0">
                <a:solidFill>
                  <a:srgbClr val="FFFFFF"/>
                </a:solidFill>
                <a:latin typeface="Asap"/>
                <a:ea typeface="ＭＳ Ｐゴシック" charset="0"/>
                <a:cs typeface="Asap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rgbClr val="7F7F7F"/>
                </a:solidFill>
                <a:latin typeface="Asap"/>
                <a:ea typeface="ＭＳ Ｐゴシック" charset="0"/>
                <a:cs typeface="Asap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C5FA2"/>
              </a:buClr>
              <a:buFont typeface="Arial" charset="0"/>
              <a:buChar char="•"/>
              <a:defRPr sz="1400" kern="1200">
                <a:solidFill>
                  <a:srgbClr val="7F7F7F"/>
                </a:solidFill>
                <a:latin typeface="Asap"/>
                <a:ea typeface="ＭＳ Ｐゴシック" charset="0"/>
                <a:cs typeface="Asap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rgbClr val="7F7F7F"/>
                </a:solidFill>
                <a:latin typeface="Asap"/>
                <a:ea typeface="ＭＳ Ｐゴシック" charset="0"/>
                <a:cs typeface="Asap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7F7F7F"/>
              </a:buClr>
              <a:buFont typeface="Arial" charset="0"/>
              <a:buChar char="•"/>
              <a:defRPr sz="1200" kern="1200">
                <a:solidFill>
                  <a:srgbClr val="7F7F7F"/>
                </a:solidFill>
                <a:latin typeface="Asap"/>
                <a:ea typeface="ＭＳ Ｐゴシック" charset="0"/>
                <a:cs typeface="Asap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Asap" panose="02000506040000020004" pitchFamily="2" charset="0"/>
                <a:sym typeface="Asap" panose="02000506040000020004" pitchFamily="2" charset="0"/>
              </a:rPr>
              <a:t>Thank You</a:t>
            </a:r>
            <a:endParaRPr lang="en-GB" dirty="0">
              <a:latin typeface="Asap" panose="02000506040000020004" pitchFamily="2" charset="0"/>
              <a:sym typeface="Asap" panose="02000506040000020004" pitchFamily="2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0"/>
          </p:nvPr>
        </p:nvSpPr>
        <p:spPr>
          <a:xfrm>
            <a:off x="728797" y="2250139"/>
            <a:ext cx="5510577" cy="372317"/>
          </a:xfrm>
        </p:spPr>
        <p:txBody>
          <a:bodyPr>
            <a:normAutofit lnSpcReduction="10000"/>
          </a:bodyPr>
          <a:lstStyle/>
          <a:p>
            <a:r>
              <a:rPr lang="en-US" dirty="0">
                <a:latin typeface="Asap" panose="02000506040000020004" pitchFamily="2" charset="0"/>
                <a:sym typeface="Asap" panose="02000506040000020004" pitchFamily="2" charset="0"/>
              </a:rPr>
              <a:t>Thank you</a:t>
            </a:r>
          </a:p>
        </p:txBody>
      </p:sp>
      <p:sp>
        <p:nvSpPr>
          <p:cNvPr id="7" name="Rectangle 6"/>
          <p:cNvSpPr/>
          <p:nvPr/>
        </p:nvSpPr>
        <p:spPr>
          <a:xfrm>
            <a:off x="352545" y="4474448"/>
            <a:ext cx="8438909" cy="37231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/>
          <a:p>
            <a:pPr algn="ctr"/>
            <a:r>
              <a:rPr lang="en-US" dirty="0">
                <a:solidFill>
                  <a:srgbClr val="646363"/>
                </a:solidFill>
                <a:latin typeface="Asap" panose="02000506040000020004" pitchFamily="2" charset="0"/>
                <a:cs typeface="Arial" charset="0"/>
                <a:sym typeface="Asap" panose="02000506040000020004" pitchFamily="2" charset="0"/>
              </a:rPr>
              <a:t>Engage on projects via </a:t>
            </a:r>
            <a:r>
              <a:rPr lang="en-US" dirty="0">
                <a:solidFill>
                  <a:srgbClr val="646363"/>
                </a:solidFill>
                <a:latin typeface="Asap" panose="02000506040000020004" pitchFamily="2" charset="0"/>
                <a:cs typeface="Arial" charset="0"/>
                <a:sym typeface="Asap" panose="02000506040000020004" pitchFamily="2" charset="0"/>
                <a:hlinkClick r:id="rId7"/>
              </a:rPr>
              <a:t>WBA extranet</a:t>
            </a:r>
            <a:r>
              <a:rPr lang="en-US" dirty="0">
                <a:solidFill>
                  <a:srgbClr val="646363"/>
                </a:solidFill>
                <a:latin typeface="Asap" panose="02000506040000020004" pitchFamily="2" charset="0"/>
                <a:cs typeface="Arial" charset="0"/>
                <a:sym typeface="Asap" panose="02000506040000020004" pitchFamily="2" charset="0"/>
              </a:rPr>
              <a:t> | PMO contact: </a:t>
            </a:r>
            <a:r>
              <a:rPr lang="en-US" dirty="0">
                <a:solidFill>
                  <a:srgbClr val="646363"/>
                </a:solidFill>
                <a:latin typeface="Asap" panose="02000506040000020004" pitchFamily="2" charset="0"/>
                <a:cs typeface="Arial" charset="0"/>
                <a:sym typeface="Asap" panose="02000506040000020004" pitchFamily="2" charset="0"/>
                <a:hlinkClick r:id="rId8"/>
              </a:rPr>
              <a:t>pmo@wballiance.com</a:t>
            </a:r>
            <a:endParaRPr lang="en-GB" dirty="0">
              <a:solidFill>
                <a:srgbClr val="646363"/>
              </a:solidFill>
              <a:latin typeface="Asap" panose="02000506040000020004" pitchFamily="2" charset="0"/>
              <a:cs typeface="Arial" charset="0"/>
              <a:sym typeface="Asap" panose="02000506040000020004" pitchFamily="2" charset="0"/>
            </a:endParaRPr>
          </a:p>
        </p:txBody>
      </p:sp>
      <p:pic>
        <p:nvPicPr>
          <p:cNvPr id="8" name="Picture 7" descr="wba_strapline_RGB.pn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5551" y="296734"/>
            <a:ext cx="3798887" cy="1487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E8D0B53D-52D4-44D9-BDB6-4191A767E816}"/>
              </a:ext>
            </a:extLst>
          </p:cNvPr>
          <p:cNvSpPr/>
          <p:nvPr/>
        </p:nvSpPr>
        <p:spPr>
          <a:xfrm>
            <a:off x="808308" y="2768637"/>
            <a:ext cx="4744157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latin typeface="Asap" panose="02000506040000020004" pitchFamily="2" charset="0"/>
                <a:sym typeface="Asap" panose="02000506040000020004" pitchFamily="2" charset="0"/>
              </a:rPr>
              <a:t>Derek Peterson </a:t>
            </a:r>
            <a:r>
              <a:rPr lang="en-US" dirty="0">
                <a:latin typeface="Asap" panose="02000506040000020004" pitchFamily="2" charset="0"/>
                <a:sym typeface="Asap" panose="02000506040000020004" pitchFamily="2" charset="0"/>
              </a:rPr>
              <a:t>- CTO Group Chair, Boingo Wireless</a:t>
            </a:r>
          </a:p>
          <a:p>
            <a:r>
              <a:rPr lang="en-US" b="1" dirty="0">
                <a:latin typeface="Asap" panose="02000506040000020004" pitchFamily="2" charset="0"/>
                <a:sym typeface="Asap" panose="02000506040000020004" pitchFamily="2" charset="0"/>
              </a:rPr>
              <a:t>Necati Canpolat </a:t>
            </a:r>
            <a:r>
              <a:rPr lang="en-US" dirty="0">
                <a:latin typeface="Asap" panose="02000506040000020004" pitchFamily="2" charset="0"/>
                <a:sym typeface="Asap" panose="02000506040000020004" pitchFamily="2" charset="0"/>
              </a:rPr>
              <a:t>- CTO Group Co-Chair, Intel Corp.</a:t>
            </a:r>
          </a:p>
          <a:p>
            <a:r>
              <a:rPr lang="en-US" b="1" dirty="0">
                <a:latin typeface="Asap" panose="02000506040000020004" pitchFamily="2" charset="0"/>
                <a:sym typeface="Asap" panose="02000506040000020004" pitchFamily="2" charset="0"/>
              </a:rPr>
              <a:t>Matt MacPherson </a:t>
            </a:r>
            <a:r>
              <a:rPr lang="en-US" dirty="0">
                <a:latin typeface="Asap" panose="02000506040000020004" pitchFamily="2" charset="0"/>
                <a:sym typeface="Asap" panose="02000506040000020004" pitchFamily="2" charset="0"/>
              </a:rPr>
              <a:t>– CTO Group Co-Chair, Cisco</a:t>
            </a:r>
          </a:p>
          <a:p>
            <a:endParaRPr lang="en-US" sz="1200" b="1" dirty="0">
              <a:latin typeface="Asap" panose="02000506040000020004" pitchFamily="2" charset="0"/>
              <a:sym typeface="Asap" panose="02000506040000020004" pitchFamily="2" charset="0"/>
            </a:endParaRPr>
          </a:p>
          <a:p>
            <a:r>
              <a:rPr lang="en-US" sz="1200" b="1" dirty="0">
                <a:latin typeface="Asap" panose="02000506040000020004" pitchFamily="2" charset="0"/>
                <a:sym typeface="Asap" panose="02000506040000020004" pitchFamily="2" charset="0"/>
              </a:rPr>
              <a:t>WBA PMO</a:t>
            </a:r>
          </a:p>
          <a:p>
            <a:r>
              <a:rPr lang="en-US" sz="1200" dirty="0">
                <a:latin typeface="Asap" panose="02000506040000020004" pitchFamily="2" charset="0"/>
                <a:sym typeface="Asap" panose="02000506040000020004" pitchFamily="2" charset="0"/>
              </a:rPr>
              <a:t>Bruno Tomas</a:t>
            </a:r>
          </a:p>
          <a:p>
            <a:r>
              <a:rPr lang="en-US" sz="1200" dirty="0">
                <a:latin typeface="Asap" panose="02000506040000020004" pitchFamily="2" charset="0"/>
                <a:sym typeface="Asap" panose="02000506040000020004" pitchFamily="2" charset="0"/>
              </a:rPr>
              <a:t>Pedro Mouta</a:t>
            </a:r>
          </a:p>
        </p:txBody>
      </p:sp>
    </p:spTree>
    <p:extLst>
      <p:ext uri="{BB962C8B-B14F-4D97-AF65-F5344CB8AC3E}">
        <p14:creationId xmlns:p14="http://schemas.microsoft.com/office/powerpoint/2010/main" val="12500245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60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8.24486706419710912996E+00&quot;&gt;&lt;m_msothmcolidx val=&quot;0&quot;/&gt;&lt;m_rgb r=&quot;43&quot; g=&quot;A3&quot; b=&quot;F1&quot;/&gt;&lt;m_nBrightness val=&quot;0&quot;/&gt;&lt;/elem&gt;&lt;elem m_fUsage=&quot;4.04281218129899366787E-01&quot;&gt;&lt;m_msothmcolidx val=&quot;0&quot;/&gt;&lt;m_rgb r=&quot;9B&quot; g=&quot;3F&quot; b=&quot;24&quot;/&gt;&lt;m_nBrightness val=&quot;0&quot;/&gt;&lt;/elem&gt;&lt;elem m_fUsage=&quot;1.35085171767299283552E-01&quot;&gt;&lt;m_msothmcolidx val=&quot;0&quot;/&gt;&lt;m_rgb r=&quot;00&quot; g=&quot;70&quot; b=&quot;C0&quot;/&gt;&lt;m_nBrightness val=&quot;0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pK0LMSKBXOAo3UAcdri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CE4u2i9kH5V6d0EffC4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1ZHnHNjg25.hgl1eo9r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uMSvTYXjoP8VfECqKO5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Ec3w8wTBayAI9_h0qdB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jd1u31lvApgaKGexs0N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EumpC9bYekMTOKQZ7w0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cKnHhH17AewBBvpA68Y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OEl_uPFHCbxnMcbReeO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50tdQGxZHrWFa4kQvEE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uHQMFn7OK0M34nmiJezg"/>
</p:tagLst>
</file>

<file path=ppt/theme/theme1.xml><?xml version="1.0" encoding="utf-8"?>
<a:theme xmlns:a="http://schemas.openxmlformats.org/drawingml/2006/main" name="Alliance Theme (16-9)">
  <a:themeElements>
    <a:clrScheme name="WBA">
      <a:dk1>
        <a:srgbClr val="042C57"/>
      </a:dk1>
      <a:lt1>
        <a:srgbClr val="FFFFFF"/>
      </a:lt1>
      <a:dk2>
        <a:srgbClr val="0C5FA2"/>
      </a:dk2>
      <a:lt2>
        <a:srgbClr val="FFFFFF"/>
      </a:lt2>
      <a:accent1>
        <a:srgbClr val="139CEB"/>
      </a:accent1>
      <a:accent2>
        <a:srgbClr val="AE183F"/>
      </a:accent2>
      <a:accent3>
        <a:srgbClr val="83B737"/>
      </a:accent3>
      <a:accent4>
        <a:srgbClr val="7F0E7D"/>
      </a:accent4>
      <a:accent5>
        <a:srgbClr val="4BACC6"/>
      </a:accent5>
      <a:accent6>
        <a:srgbClr val="F89E16"/>
      </a:accent6>
      <a:hlink>
        <a:srgbClr val="7DB928"/>
      </a:hlink>
      <a:folHlink>
        <a:srgbClr val="006EA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Alliance 2018 (16-9).potx" id="{C8020781-586D-48D2-8EC1-96CADDD057A3}" vid="{299ED372-0268-4153-AE24-E0C31DE6C571}"/>
    </a:ext>
  </a:extLst>
</a:theme>
</file>

<file path=ppt/theme/theme2.xml><?xml version="1.0" encoding="utf-8"?>
<a:theme xmlns:a="http://schemas.openxmlformats.org/drawingml/2006/main" name="Contents Slide Master">
  <a:themeElements>
    <a:clrScheme name="Leader for Succes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2C650"/>
      </a:accent1>
      <a:accent2>
        <a:srgbClr val="5CBE7A"/>
      </a:accent2>
      <a:accent3>
        <a:srgbClr val="2CB8AE"/>
      </a:accent3>
      <a:accent4>
        <a:srgbClr val="24A8C2"/>
      </a:accent4>
      <a:accent5>
        <a:srgbClr val="249ED2"/>
      </a:accent5>
      <a:accent6>
        <a:srgbClr val="3F3F3F"/>
      </a:accent6>
      <a:hlink>
        <a:srgbClr val="FFFFFF"/>
      </a:hlink>
      <a:folHlink>
        <a:srgbClr val="FFFFFF"/>
      </a:folHlink>
    </a:clrScheme>
    <a:fontScheme name="MAX-THEME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Contents Slide Master">
  <a:themeElements>
    <a:clrScheme name="Leader for Succes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2C650"/>
      </a:accent1>
      <a:accent2>
        <a:srgbClr val="5CBE7A"/>
      </a:accent2>
      <a:accent3>
        <a:srgbClr val="2CB8AE"/>
      </a:accent3>
      <a:accent4>
        <a:srgbClr val="24A8C2"/>
      </a:accent4>
      <a:accent5>
        <a:srgbClr val="249ED2"/>
      </a:accent5>
      <a:accent6>
        <a:srgbClr val="3F3F3F"/>
      </a:accent6>
      <a:hlink>
        <a:srgbClr val="FFFFFF"/>
      </a:hlink>
      <a:folHlink>
        <a:srgbClr val="FFFFFF"/>
      </a:folHlink>
    </a:clrScheme>
    <a:fontScheme name="MAX-THEME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778</TotalTime>
  <Words>123</Words>
  <Application>Microsoft Office PowerPoint</Application>
  <PresentationFormat>On-screen Show (16:9)</PresentationFormat>
  <Paragraphs>24</Paragraphs>
  <Slides>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1" baseType="lpstr">
      <vt:lpstr>Arial</vt:lpstr>
      <vt:lpstr>Asap</vt:lpstr>
      <vt:lpstr>Calibri</vt:lpstr>
      <vt:lpstr>Alliance Theme (16-9)</vt:lpstr>
      <vt:lpstr>Contents Slide Master</vt:lpstr>
      <vt:lpstr>1_Contents Slide Master</vt:lpstr>
      <vt:lpstr>think-cell Slide</vt:lpstr>
      <vt:lpstr>PowerPoint Presentation</vt:lpstr>
      <vt:lpstr>CTOG - WBA Industry Partnerships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ice</dc:creator>
  <cp:lastModifiedBy>Bruno Tomas</cp:lastModifiedBy>
  <cp:revision>474</cp:revision>
  <dcterms:created xsi:type="dcterms:W3CDTF">2017-12-19T00:20:31Z</dcterms:created>
  <dcterms:modified xsi:type="dcterms:W3CDTF">2022-03-08T23:46:12Z</dcterms:modified>
</cp:coreProperties>
</file>